
<file path=[Content_Types].xml><?xml version="1.0" encoding="utf-8"?>
<Types xmlns="http://schemas.openxmlformats.org/package/2006/content-types">
  <Default Extension="1" ContentType="image/jpeg"/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648" r:id="rId1"/>
  </p:sldMasterIdLst>
  <p:notesMasterIdLst>
    <p:notesMasterId r:id="rId138"/>
  </p:notesMasterIdLst>
  <p:handoutMasterIdLst>
    <p:handoutMasterId r:id="rId139"/>
  </p:handoutMasterIdLst>
  <p:sldIdLst>
    <p:sldId id="256" r:id="rId2"/>
    <p:sldId id="282" r:id="rId3"/>
    <p:sldId id="285" r:id="rId4"/>
    <p:sldId id="519" r:id="rId5"/>
    <p:sldId id="262" r:id="rId6"/>
    <p:sldId id="389" r:id="rId7"/>
    <p:sldId id="412" r:id="rId8"/>
    <p:sldId id="431" r:id="rId9"/>
    <p:sldId id="390" r:id="rId10"/>
    <p:sldId id="551" r:id="rId11"/>
    <p:sldId id="430" r:id="rId12"/>
    <p:sldId id="391" r:id="rId13"/>
    <p:sldId id="413" r:id="rId14"/>
    <p:sldId id="555" r:id="rId15"/>
    <p:sldId id="550" r:id="rId16"/>
    <p:sldId id="552" r:id="rId17"/>
    <p:sldId id="553" r:id="rId18"/>
    <p:sldId id="554" r:id="rId19"/>
    <p:sldId id="559" r:id="rId20"/>
    <p:sldId id="560" r:id="rId21"/>
    <p:sldId id="556" r:id="rId22"/>
    <p:sldId id="290" r:id="rId23"/>
    <p:sldId id="387" r:id="rId24"/>
    <p:sldId id="393" r:id="rId25"/>
    <p:sldId id="394" r:id="rId26"/>
    <p:sldId id="535" r:id="rId27"/>
    <p:sldId id="395" r:id="rId28"/>
    <p:sldId id="536" r:id="rId29"/>
    <p:sldId id="396" r:id="rId30"/>
    <p:sldId id="537" r:id="rId31"/>
    <p:sldId id="397" r:id="rId32"/>
    <p:sldId id="538" r:id="rId33"/>
    <p:sldId id="399" r:id="rId34"/>
    <p:sldId id="539" r:id="rId35"/>
    <p:sldId id="398" r:id="rId36"/>
    <p:sldId id="529" r:id="rId37"/>
    <p:sldId id="437" r:id="rId38"/>
    <p:sldId id="515" r:id="rId39"/>
    <p:sldId id="570" r:id="rId40"/>
    <p:sldId id="561" r:id="rId41"/>
    <p:sldId id="530" r:id="rId42"/>
    <p:sldId id="458" r:id="rId43"/>
    <p:sldId id="427" r:id="rId44"/>
    <p:sldId id="451" r:id="rId45"/>
    <p:sldId id="444" r:id="rId46"/>
    <p:sldId id="449" r:id="rId47"/>
    <p:sldId id="517" r:id="rId48"/>
    <p:sldId id="516" r:id="rId49"/>
    <p:sldId id="577" r:id="rId50"/>
    <p:sldId id="576" r:id="rId51"/>
    <p:sldId id="574" r:id="rId52"/>
    <p:sldId id="567" r:id="rId53"/>
    <p:sldId id="578" r:id="rId54"/>
    <p:sldId id="579" r:id="rId55"/>
    <p:sldId id="580" r:id="rId56"/>
    <p:sldId id="581" r:id="rId57"/>
    <p:sldId id="582" r:id="rId58"/>
    <p:sldId id="583" r:id="rId59"/>
    <p:sldId id="584" r:id="rId60"/>
    <p:sldId id="549" r:id="rId61"/>
    <p:sldId id="572" r:id="rId62"/>
    <p:sldId id="573" r:id="rId63"/>
    <p:sldId id="571" r:id="rId64"/>
    <p:sldId id="563" r:id="rId65"/>
    <p:sldId id="568" r:id="rId66"/>
    <p:sldId id="562" r:id="rId67"/>
    <p:sldId id="526" r:id="rId68"/>
    <p:sldId id="547" r:id="rId69"/>
    <p:sldId id="548" r:id="rId70"/>
    <p:sldId id="531" r:id="rId71"/>
    <p:sldId id="527" r:id="rId72"/>
    <p:sldId id="528" r:id="rId73"/>
    <p:sldId id="518" r:id="rId74"/>
    <p:sldId id="443" r:id="rId75"/>
    <p:sldId id="447" r:id="rId76"/>
    <p:sldId id="448" r:id="rId77"/>
    <p:sldId id="514" r:id="rId78"/>
    <p:sldId id="564" r:id="rId79"/>
    <p:sldId id="439" r:id="rId80"/>
    <p:sldId id="428" r:id="rId81"/>
    <p:sldId id="440" r:id="rId82"/>
    <p:sldId id="438" r:id="rId83"/>
    <p:sldId id="441" r:id="rId84"/>
    <p:sldId id="452" r:id="rId85"/>
    <p:sldId id="505" r:id="rId86"/>
    <p:sldId id="545" r:id="rId87"/>
    <p:sldId id="442" r:id="rId88"/>
    <p:sldId id="506" r:id="rId89"/>
    <p:sldId id="565" r:id="rId90"/>
    <p:sldId id="546" r:id="rId91"/>
    <p:sldId id="436" r:id="rId92"/>
    <p:sldId id="411" r:id="rId93"/>
    <p:sldId id="569" r:id="rId94"/>
    <p:sldId id="507" r:id="rId95"/>
    <p:sldId id="521" r:id="rId96"/>
    <p:sldId id="522" r:id="rId97"/>
    <p:sldId id="523" r:id="rId98"/>
    <p:sldId id="524" r:id="rId99"/>
    <p:sldId id="525" r:id="rId100"/>
    <p:sldId id="510" r:id="rId101"/>
    <p:sldId id="511" r:id="rId102"/>
    <p:sldId id="566" r:id="rId103"/>
    <p:sldId id="432" r:id="rId104"/>
    <p:sldId id="532" r:id="rId105"/>
    <p:sldId id="533" r:id="rId106"/>
    <p:sldId id="409" r:id="rId107"/>
    <p:sldId id="435" r:id="rId108"/>
    <p:sldId id="575" r:id="rId109"/>
    <p:sldId id="385" r:id="rId110"/>
    <p:sldId id="400" r:id="rId111"/>
    <p:sldId id="403" r:id="rId112"/>
    <p:sldId id="423" r:id="rId113"/>
    <p:sldId id="520" r:id="rId114"/>
    <p:sldId id="401" r:id="rId115"/>
    <p:sldId id="421" r:id="rId116"/>
    <p:sldId id="422" r:id="rId117"/>
    <p:sldId id="420" r:id="rId118"/>
    <p:sldId id="418" r:id="rId119"/>
    <p:sldId id="456" r:id="rId120"/>
    <p:sldId id="454" r:id="rId121"/>
    <p:sldId id="386" r:id="rId122"/>
    <p:sldId id="405" r:id="rId123"/>
    <p:sldId id="404" r:id="rId124"/>
    <p:sldId id="407" r:id="rId125"/>
    <p:sldId id="408" r:id="rId126"/>
    <p:sldId id="419" r:id="rId127"/>
    <p:sldId id="450" r:id="rId128"/>
    <p:sldId id="388" r:id="rId129"/>
    <p:sldId id="414" r:id="rId130"/>
    <p:sldId id="457" r:id="rId131"/>
    <p:sldId id="424" r:id="rId132"/>
    <p:sldId id="425" r:id="rId133"/>
    <p:sldId id="426" r:id="rId134"/>
    <p:sldId id="534" r:id="rId135"/>
    <p:sldId id="286" r:id="rId136"/>
    <p:sldId id="287" r:id="rId137"/>
  </p:sldIdLst>
  <p:sldSz cx="12192000" cy="6858000"/>
  <p:notesSz cx="6858000" cy="9144000"/>
  <p:custDataLst>
    <p:tags r:id="rId14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A3EE0AD6-CB96-47B9-8F39-76FC465F9793}">
          <p14:sldIdLst>
            <p14:sldId id="256"/>
            <p14:sldId id="282"/>
          </p14:sldIdLst>
        </p14:section>
        <p14:section name="Begriffsbestimmung" id="{4213B829-626E-42AF-83EC-BAC4037613EF}">
          <p14:sldIdLst>
            <p14:sldId id="285"/>
            <p14:sldId id="519"/>
            <p14:sldId id="262"/>
            <p14:sldId id="389"/>
            <p14:sldId id="412"/>
            <p14:sldId id="431"/>
            <p14:sldId id="390"/>
            <p14:sldId id="551"/>
            <p14:sldId id="430"/>
            <p14:sldId id="391"/>
            <p14:sldId id="413"/>
          </p14:sldIdLst>
        </p14:section>
        <p14:section name="Lernorte der Ausbildung" id="{56237AC7-741A-46C5-9FF2-2476FE6B93F8}">
          <p14:sldIdLst>
            <p14:sldId id="555"/>
            <p14:sldId id="550"/>
            <p14:sldId id="552"/>
            <p14:sldId id="553"/>
            <p14:sldId id="554"/>
            <p14:sldId id="559"/>
            <p14:sldId id="560"/>
            <p14:sldId id="556"/>
          </p14:sldIdLst>
        </p14:section>
        <p14:section name="Rahmenbedingungen" id="{EAFA2046-8746-4F10-9014-E587D316F495}">
          <p14:sldIdLst>
            <p14:sldId id="290"/>
            <p14:sldId id="387"/>
            <p14:sldId id="393"/>
            <p14:sldId id="394"/>
            <p14:sldId id="535"/>
            <p14:sldId id="395"/>
            <p14:sldId id="536"/>
            <p14:sldId id="396"/>
            <p14:sldId id="537"/>
            <p14:sldId id="397"/>
            <p14:sldId id="538"/>
            <p14:sldId id="399"/>
            <p14:sldId id="539"/>
            <p14:sldId id="398"/>
          </p14:sldIdLst>
        </p14:section>
        <p14:section name="Kommunikation" id="{E077A9DF-B520-4EB4-A2C3-C5AEDB8389D4}">
          <p14:sldIdLst>
            <p14:sldId id="529"/>
            <p14:sldId id="437"/>
            <p14:sldId id="515"/>
            <p14:sldId id="570"/>
            <p14:sldId id="561"/>
            <p14:sldId id="530"/>
            <p14:sldId id="458"/>
            <p14:sldId id="427"/>
            <p14:sldId id="451"/>
            <p14:sldId id="444"/>
            <p14:sldId id="449"/>
            <p14:sldId id="517"/>
            <p14:sldId id="516"/>
            <p14:sldId id="577"/>
            <p14:sldId id="576"/>
            <p14:sldId id="574"/>
            <p14:sldId id="567"/>
            <p14:sldId id="578"/>
            <p14:sldId id="579"/>
            <p14:sldId id="580"/>
            <p14:sldId id="581"/>
            <p14:sldId id="582"/>
            <p14:sldId id="583"/>
            <p14:sldId id="584"/>
            <p14:sldId id="549"/>
            <p14:sldId id="572"/>
            <p14:sldId id="573"/>
            <p14:sldId id="571"/>
            <p14:sldId id="563"/>
            <p14:sldId id="568"/>
            <p14:sldId id="562"/>
            <p14:sldId id="526"/>
            <p14:sldId id="547"/>
            <p14:sldId id="548"/>
            <p14:sldId id="531"/>
            <p14:sldId id="527"/>
            <p14:sldId id="528"/>
            <p14:sldId id="518"/>
            <p14:sldId id="443"/>
            <p14:sldId id="447"/>
            <p14:sldId id="448"/>
            <p14:sldId id="514"/>
            <p14:sldId id="564"/>
            <p14:sldId id="439"/>
            <p14:sldId id="428"/>
            <p14:sldId id="440"/>
            <p14:sldId id="438"/>
            <p14:sldId id="441"/>
            <p14:sldId id="452"/>
            <p14:sldId id="505"/>
            <p14:sldId id="545"/>
            <p14:sldId id="442"/>
            <p14:sldId id="506"/>
            <p14:sldId id="565"/>
            <p14:sldId id="546"/>
            <p14:sldId id="436"/>
            <p14:sldId id="411"/>
            <p14:sldId id="569"/>
            <p14:sldId id="507"/>
            <p14:sldId id="521"/>
            <p14:sldId id="522"/>
            <p14:sldId id="523"/>
            <p14:sldId id="524"/>
            <p14:sldId id="525"/>
            <p14:sldId id="510"/>
            <p14:sldId id="511"/>
            <p14:sldId id="566"/>
            <p14:sldId id="432"/>
            <p14:sldId id="532"/>
            <p14:sldId id="533"/>
            <p14:sldId id="409"/>
            <p14:sldId id="435"/>
            <p14:sldId id="575"/>
          </p14:sldIdLst>
        </p14:section>
        <p14:section name="Handlungskompetenzen" id="{23088AA7-100B-46EB-A776-871D3408D2B3}">
          <p14:sldIdLst>
            <p14:sldId id="385"/>
            <p14:sldId id="400"/>
            <p14:sldId id="403"/>
            <p14:sldId id="423"/>
            <p14:sldId id="520"/>
            <p14:sldId id="401"/>
            <p14:sldId id="421"/>
            <p14:sldId id="422"/>
            <p14:sldId id="420"/>
            <p14:sldId id="418"/>
            <p14:sldId id="456"/>
            <p14:sldId id="454"/>
          </p14:sldIdLst>
        </p14:section>
        <p14:section name="Kompetenzen" id="{EC014322-CC6E-4488-8D17-74560FB79143}">
          <p14:sldIdLst>
            <p14:sldId id="386"/>
            <p14:sldId id="405"/>
            <p14:sldId id="404"/>
            <p14:sldId id="407"/>
            <p14:sldId id="408"/>
            <p14:sldId id="419"/>
            <p14:sldId id="450"/>
          </p14:sldIdLst>
        </p14:section>
        <p14:section name="berufsspezifische Kompetenzen" id="{483AD1D1-BC47-4ED2-9B81-50995A80CE4E}">
          <p14:sldIdLst>
            <p14:sldId id="388"/>
            <p14:sldId id="414"/>
            <p14:sldId id="457"/>
            <p14:sldId id="424"/>
            <p14:sldId id="425"/>
            <p14:sldId id="426"/>
            <p14:sldId id="534"/>
          </p14:sldIdLst>
        </p14:section>
        <p14:section name="Abschluss" id="{608F2EFA-0CE2-4E29-9444-256043DB91F0}">
          <p14:sldIdLst>
            <p14:sldId id="286"/>
            <p14:sldId id="2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91" userDrawn="1">
          <p15:clr>
            <a:srgbClr val="A4A3A4"/>
          </p15:clr>
        </p15:guide>
        <p15:guide id="2" pos="393" userDrawn="1">
          <p15:clr>
            <a:srgbClr val="A4A3A4"/>
          </p15:clr>
        </p15:guide>
        <p15:guide id="4" pos="7287" userDrawn="1">
          <p15:clr>
            <a:srgbClr val="A4A3A4"/>
          </p15:clr>
        </p15:guide>
        <p15:guide id="5" orient="horz" pos="1298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8" orient="horz" pos="527" userDrawn="1">
          <p15:clr>
            <a:srgbClr val="A4A3A4"/>
          </p15:clr>
        </p15:guide>
        <p15:guide id="9" orient="horz" pos="4020" userDrawn="1">
          <p15:clr>
            <a:srgbClr val="A4A3A4"/>
          </p15:clr>
        </p15:guide>
        <p15:guide id="10" pos="3908" userDrawn="1">
          <p15:clr>
            <a:srgbClr val="A4A3A4"/>
          </p15:clr>
        </p15:guide>
        <p15:guide id="11" pos="37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AFCF"/>
    <a:srgbClr val="1ABA01"/>
    <a:srgbClr val="FFE001"/>
    <a:srgbClr val="D81717"/>
    <a:srgbClr val="A62635"/>
    <a:srgbClr val="E1D5D1"/>
    <a:srgbClr val="E3E6D7"/>
    <a:srgbClr val="DEEAE0"/>
    <a:srgbClr val="E4EDEF"/>
    <a:srgbClr val="ECEB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748" autoAdjust="0"/>
    <p:restoredTop sz="94660"/>
  </p:normalViewPr>
  <p:slideViewPr>
    <p:cSldViewPr snapToGrid="0" showGuides="1">
      <p:cViewPr varScale="1">
        <p:scale>
          <a:sx n="107" d="100"/>
          <a:sy n="107" d="100"/>
        </p:scale>
        <p:origin x="798" y="102"/>
      </p:cViewPr>
      <p:guideLst>
        <p:guide orient="horz" pos="391"/>
        <p:guide pos="393"/>
        <p:guide pos="7287"/>
        <p:guide orient="horz" pos="1298"/>
        <p:guide orient="horz" pos="3702"/>
        <p:guide orient="horz" pos="527"/>
        <p:guide orient="horz" pos="4020"/>
        <p:guide pos="3908"/>
        <p:guide pos="377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11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notesMaster" Target="notesMasters/notesMaster1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tableStyles" Target="tableStyles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handoutMaster" Target="handoutMasters/handoutMaster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viewProps" Target="viewProps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6" Type="http://schemas.openxmlformats.org/officeDocument/2006/relationships/slide" Target="slides/slide1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bibb.de\daten\BIBB\AB26\06%20-%20Handreichungen-Workshops\07%20-%20Umsetzung%20Pflegeausbildung\Umsetzungshilfe-Praxis\Kompetenznetz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mpetenznetz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radarChart>
        <c:radarStyle val="marker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Tabelle1!$A$1:$A$10</c:f>
              <c:strCache>
                <c:ptCount val="10"/>
                <c:pt idx="0">
                  <c:v>Fachsystematische Kenntnisse </c:v>
                </c:pt>
                <c:pt idx="1">
                  <c:v>Beobachtung und Urteilsbildung</c:v>
                </c:pt>
                <c:pt idx="2">
                  <c:v>Selbstständigkeit und Eigenaktivität</c:v>
                </c:pt>
                <c:pt idx="3">
                  <c:v>Situationsspezifisches Handeln</c:v>
                </c:pt>
                <c:pt idx="4">
                  <c:v>Organisation von Prozessen</c:v>
                </c:pt>
                <c:pt idx="5">
                  <c:v>Übernahme von Verantwortung</c:v>
                </c:pt>
                <c:pt idx="6">
                  <c:v>Selbstreflexion und eigene Weiterentwicklung</c:v>
                </c:pt>
                <c:pt idx="7">
                  <c:v>Berufliche Identität und Ethik</c:v>
                </c:pt>
                <c:pt idx="8">
                  <c:v>Interaktion und Perspektivenübernahme</c:v>
                </c:pt>
                <c:pt idx="9">
                  <c:v>Konfliktlöseverhalten</c:v>
                </c:pt>
              </c:strCache>
            </c:strRef>
          </c:cat>
          <c:val>
            <c:numRef>
              <c:f>Tabelle1!$B$1:$B$10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0F-49FE-ACB9-2988F2547473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Pt>
            <c:idx val="3"/>
            <c:marker>
              <c:symbol val="circle"/>
              <c:size val="5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4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580F-49FE-ACB9-2988F2547473}"/>
              </c:ext>
            </c:extLst>
          </c:dPt>
          <c:cat>
            <c:strRef>
              <c:f>Tabelle1!$A$1:$A$10</c:f>
              <c:strCache>
                <c:ptCount val="10"/>
                <c:pt idx="0">
                  <c:v>Fachsystematische Kenntnisse </c:v>
                </c:pt>
                <c:pt idx="1">
                  <c:v>Beobachtung und Urteilsbildung</c:v>
                </c:pt>
                <c:pt idx="2">
                  <c:v>Selbstständigkeit und Eigenaktivität</c:v>
                </c:pt>
                <c:pt idx="3">
                  <c:v>Situationsspezifisches Handeln</c:v>
                </c:pt>
                <c:pt idx="4">
                  <c:v>Organisation von Prozessen</c:v>
                </c:pt>
                <c:pt idx="5">
                  <c:v>Übernahme von Verantwortung</c:v>
                </c:pt>
                <c:pt idx="6">
                  <c:v>Selbstreflexion und eigene Weiterentwicklung</c:v>
                </c:pt>
                <c:pt idx="7">
                  <c:v>Berufliche Identität und Ethik</c:v>
                </c:pt>
                <c:pt idx="8">
                  <c:v>Interaktion und Perspektivenübernahme</c:v>
                </c:pt>
                <c:pt idx="9">
                  <c:v>Konfliktlöseverhalten</c:v>
                </c:pt>
              </c:strCache>
            </c:strRef>
          </c:cat>
          <c:val>
            <c:numRef>
              <c:f>Tabelle1!$C$1:$C$10</c:f>
              <c:numCache>
                <c:formatCode>General</c:formatCode>
                <c:ptCount val="1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0F-49FE-ACB9-2988F2547473}"/>
            </c:ext>
          </c:extLst>
        </c:ser>
        <c:ser>
          <c:idx val="2"/>
          <c:order val="2"/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2060"/>
              </a:solidFill>
              <a:ln w="9525">
                <a:solidFill>
                  <a:srgbClr val="002060"/>
                </a:solidFill>
              </a:ln>
              <a:effectLst/>
            </c:spPr>
          </c:marker>
          <c:cat>
            <c:strRef>
              <c:f>Tabelle1!$A$1:$A$10</c:f>
              <c:strCache>
                <c:ptCount val="10"/>
                <c:pt idx="0">
                  <c:v>Fachsystematische Kenntnisse </c:v>
                </c:pt>
                <c:pt idx="1">
                  <c:v>Beobachtung und Urteilsbildung</c:v>
                </c:pt>
                <c:pt idx="2">
                  <c:v>Selbstständigkeit und Eigenaktivität</c:v>
                </c:pt>
                <c:pt idx="3">
                  <c:v>Situationsspezifisches Handeln</c:v>
                </c:pt>
                <c:pt idx="4">
                  <c:v>Organisation von Prozessen</c:v>
                </c:pt>
                <c:pt idx="5">
                  <c:v>Übernahme von Verantwortung</c:v>
                </c:pt>
                <c:pt idx="6">
                  <c:v>Selbstreflexion und eigene Weiterentwicklung</c:v>
                </c:pt>
                <c:pt idx="7">
                  <c:v>Berufliche Identität und Ethik</c:v>
                </c:pt>
                <c:pt idx="8">
                  <c:v>Interaktion und Perspektivenübernahme</c:v>
                </c:pt>
                <c:pt idx="9">
                  <c:v>Konfliktlöseverhalten</c:v>
                </c:pt>
              </c:strCache>
            </c:strRef>
          </c:cat>
          <c:val>
            <c:numRef>
              <c:f>Tabelle1!$D$1:$D$10</c:f>
              <c:numCache>
                <c:formatCode>General</c:formatCode>
                <c:ptCount val="10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0F-49FE-ACB9-2988F2547473}"/>
            </c:ext>
          </c:extLst>
        </c:ser>
        <c:ser>
          <c:idx val="3"/>
          <c:order val="3"/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strRef>
              <c:f>Tabelle1!$A$1:$A$10</c:f>
              <c:strCache>
                <c:ptCount val="10"/>
                <c:pt idx="0">
                  <c:v>Fachsystematische Kenntnisse </c:v>
                </c:pt>
                <c:pt idx="1">
                  <c:v>Beobachtung und Urteilsbildung</c:v>
                </c:pt>
                <c:pt idx="2">
                  <c:v>Selbstständigkeit und Eigenaktivität</c:v>
                </c:pt>
                <c:pt idx="3">
                  <c:v>Situationsspezifisches Handeln</c:v>
                </c:pt>
                <c:pt idx="4">
                  <c:v>Organisation von Prozessen</c:v>
                </c:pt>
                <c:pt idx="5">
                  <c:v>Übernahme von Verantwortung</c:v>
                </c:pt>
                <c:pt idx="6">
                  <c:v>Selbstreflexion und eigene Weiterentwicklung</c:v>
                </c:pt>
                <c:pt idx="7">
                  <c:v>Berufliche Identität und Ethik</c:v>
                </c:pt>
                <c:pt idx="8">
                  <c:v>Interaktion und Perspektivenübernahme</c:v>
                </c:pt>
                <c:pt idx="9">
                  <c:v>Konfliktlöseverhalten</c:v>
                </c:pt>
              </c:strCache>
            </c:strRef>
          </c:cat>
          <c:val>
            <c:numRef>
              <c:f>Tabelle1!$E$1:$E$10</c:f>
              <c:numCache>
                <c:formatCode>General</c:formatCode>
                <c:ptCount val="10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80F-49FE-ACB9-2988F25474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0214576"/>
        <c:axId val="380215560"/>
      </c:radarChart>
      <c:catAx>
        <c:axId val="380214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80215560"/>
        <c:crosses val="autoZero"/>
        <c:auto val="1"/>
        <c:lblAlgn val="ctr"/>
        <c:lblOffset val="100"/>
        <c:noMultiLvlLbl val="0"/>
      </c:catAx>
      <c:valAx>
        <c:axId val="3802155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80214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remerhaven.de/de/leben-arbeiten/bildung-forschung/bildung-ahoi/bildung-ahoi.45250.html" TargetMode="External"/><Relationship Id="rId3" Type="http://schemas.openxmlformats.org/officeDocument/2006/relationships/image" Target="../media/image9.1"/><Relationship Id="rId7" Type="http://schemas.openxmlformats.org/officeDocument/2006/relationships/image" Target="../media/image11.jpg"/><Relationship Id="rId12" Type="http://schemas.openxmlformats.org/officeDocument/2006/relationships/hyperlink" Target="https://openoregon.pressbooks.pub/emslabmanual/chapter/non-rebreather-mask/" TargetMode="External"/><Relationship Id="rId2" Type="http://schemas.openxmlformats.org/officeDocument/2006/relationships/hyperlink" Target="http://www.public-domain-image.com/free-images/science/medical-science/nurse-checking-patients-in-a-community-clinic-west-bank-gaza-improving-community-health" TargetMode="External"/><Relationship Id="rId1" Type="http://schemas.openxmlformats.org/officeDocument/2006/relationships/image" Target="../media/image8.jpg"/><Relationship Id="rId6" Type="http://schemas.openxmlformats.org/officeDocument/2006/relationships/hyperlink" Target="http://evidentlycochrane.net/putting-the-i-into-discharge-planning/" TargetMode="External"/><Relationship Id="rId11" Type="http://schemas.openxmlformats.org/officeDocument/2006/relationships/image" Target="../media/image13.jpeg"/><Relationship Id="rId5" Type="http://schemas.openxmlformats.org/officeDocument/2006/relationships/image" Target="../media/image10.jpg"/><Relationship Id="rId10" Type="http://schemas.openxmlformats.org/officeDocument/2006/relationships/hyperlink" Target="https://diefraumitdemdromedar.de/die-antwort-lautet-und/" TargetMode="External"/><Relationship Id="rId4" Type="http://schemas.openxmlformats.org/officeDocument/2006/relationships/hyperlink" Target="https://www.rawpixel.com/search/support" TargetMode="External"/><Relationship Id="rId9" Type="http://schemas.openxmlformats.org/officeDocument/2006/relationships/image" Target="../media/image12.png"/></Relationships>
</file>

<file path=ppt/diagrams/_rels/data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diagrams/_rels/data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diagrams/_rels/data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diagrams/_rels/data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diagrams/_rels/data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svg"/><Relationship Id="rId1" Type="http://schemas.openxmlformats.org/officeDocument/2006/relationships/image" Target="../media/image82.png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4" Type="http://schemas.openxmlformats.org/officeDocument/2006/relationships/image" Target="../media/image85.svg"/></Relationships>
</file>

<file path=ppt/diagrams/_rels/data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svg"/><Relationship Id="rId1" Type="http://schemas.openxmlformats.org/officeDocument/2006/relationships/image" Target="../media/image82.png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4" Type="http://schemas.openxmlformats.org/officeDocument/2006/relationships/image" Target="../media/image85.svg"/></Relationships>
</file>

<file path=ppt/diagrams/_rels/data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svg"/><Relationship Id="rId1" Type="http://schemas.openxmlformats.org/officeDocument/2006/relationships/image" Target="../media/image82.png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4" Type="http://schemas.openxmlformats.org/officeDocument/2006/relationships/image" Target="../media/image85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remerhaven.de/de/leben-arbeiten/bildung-forschung/bildung-ahoi/bildung-ahoi.45250.html" TargetMode="External"/><Relationship Id="rId3" Type="http://schemas.openxmlformats.org/officeDocument/2006/relationships/image" Target="../media/image9.1"/><Relationship Id="rId7" Type="http://schemas.openxmlformats.org/officeDocument/2006/relationships/image" Target="../media/image11.jpg"/><Relationship Id="rId12" Type="http://schemas.openxmlformats.org/officeDocument/2006/relationships/hyperlink" Target="https://openoregon.pressbooks.pub/emslabmanual/chapter/non-rebreather-mask/" TargetMode="External"/><Relationship Id="rId2" Type="http://schemas.openxmlformats.org/officeDocument/2006/relationships/hyperlink" Target="http://www.public-domain-image.com/free-images/science/medical-science/nurse-checking-patients-in-a-community-clinic-west-bank-gaza-improving-community-health" TargetMode="External"/><Relationship Id="rId1" Type="http://schemas.openxmlformats.org/officeDocument/2006/relationships/image" Target="../media/image8.jpg"/><Relationship Id="rId6" Type="http://schemas.openxmlformats.org/officeDocument/2006/relationships/hyperlink" Target="http://evidentlycochrane.net/putting-the-i-into-discharge-planning/" TargetMode="External"/><Relationship Id="rId11" Type="http://schemas.openxmlformats.org/officeDocument/2006/relationships/image" Target="../media/image13.jpeg"/><Relationship Id="rId5" Type="http://schemas.openxmlformats.org/officeDocument/2006/relationships/image" Target="../media/image10.jpg"/><Relationship Id="rId10" Type="http://schemas.openxmlformats.org/officeDocument/2006/relationships/hyperlink" Target="https://diefraumitdemdromedar.de/die-antwort-lautet-und/" TargetMode="External"/><Relationship Id="rId4" Type="http://schemas.openxmlformats.org/officeDocument/2006/relationships/hyperlink" Target="https://www.rawpixel.com/search/support" TargetMode="External"/><Relationship Id="rId9" Type="http://schemas.openxmlformats.org/officeDocument/2006/relationships/image" Target="../media/image12.png"/></Relationships>
</file>

<file path=ppt/diagrams/_rels/drawing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diagrams/_rels/drawing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diagrams/_rels/drawing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diagrams/_rels/drawing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diagrams/_rels/drawing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svg"/><Relationship Id="rId1" Type="http://schemas.openxmlformats.org/officeDocument/2006/relationships/image" Target="../media/image82.png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4" Type="http://schemas.openxmlformats.org/officeDocument/2006/relationships/image" Target="../media/image85.svg"/></Relationships>
</file>

<file path=ppt/diagrams/_rels/drawing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svg"/><Relationship Id="rId1" Type="http://schemas.openxmlformats.org/officeDocument/2006/relationships/image" Target="../media/image82.png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4" Type="http://schemas.openxmlformats.org/officeDocument/2006/relationships/image" Target="../media/image85.svg"/></Relationships>
</file>

<file path=ppt/diagrams/_rels/drawing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svg"/><Relationship Id="rId1" Type="http://schemas.openxmlformats.org/officeDocument/2006/relationships/image" Target="../media/image82.png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4" Type="http://schemas.openxmlformats.org/officeDocument/2006/relationships/image" Target="../media/image8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D147E69-5AFF-4240-9EBB-9C58918DFE1C}" type="doc">
      <dgm:prSet loTypeId="urn:microsoft.com/office/officeart/2008/layout/HexagonCluster" loCatId="relationship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BA03124A-8174-4D61-8A02-A7F8F1D4990A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Praxisanleitung</a:t>
          </a:r>
        </a:p>
      </dgm:t>
    </dgm:pt>
    <dgm:pt modelId="{19441B7E-B43F-462F-A871-506606753F87}" type="parTrans" cxnId="{FAA08575-4F01-4CF4-961D-1B166836B038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26BDD13B-B827-4573-A981-308D52793780}" type="sibTrans" cxnId="{FAA08575-4F01-4CF4-961D-1B166836B038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 l="-14000" r="-14000"/>
          </a:stretch>
        </a:blipFill>
      </dgm:spPr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67C72254-CB78-4F2C-B6DD-EDC8924ED9B2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Praxisbegleitung</a:t>
          </a:r>
        </a:p>
      </dgm:t>
    </dgm:pt>
    <dgm:pt modelId="{D48F86B5-FFC7-4F73-AAED-2A291A9CA628}" type="parTrans" cxnId="{85788016-C64C-4946-A9CE-C508B702D689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2DC4E14B-ACFC-493A-9E64-4241B3ADD4DF}" type="sibTrans" cxnId="{85788016-C64C-4946-A9CE-C508B702D689}">
      <dgm:prSet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12000" r="-12000"/>
          </a:stretch>
        </a:blipFill>
      </dgm:spPr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FC0F8FE3-EEFD-4339-B72B-1604EDDA7A2C}">
      <dgm:prSet phldrT="[Text]" custT="1"/>
      <dgm:spPr/>
      <dgm:t>
        <a:bodyPr/>
        <a:lstStyle/>
        <a:p>
          <a:r>
            <a:rPr lang="de-DE" sz="1400" dirty="0" err="1">
              <a:solidFill>
                <a:schemeClr val="tx1"/>
              </a:solidFill>
            </a:rPr>
            <a:t>Praxisanleiter:in</a:t>
          </a:r>
          <a:endParaRPr lang="de-DE" sz="1400" dirty="0">
            <a:solidFill>
              <a:schemeClr val="tx1"/>
            </a:solidFill>
          </a:endParaRPr>
        </a:p>
      </dgm:t>
    </dgm:pt>
    <dgm:pt modelId="{C12FAAD6-5A89-4B95-9C61-CA4CFEC8B607}" type="parTrans" cxnId="{B4365856-BE63-4AFE-A500-4E9B18CD37FF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3211F3BB-9112-4777-B389-AFBBBD22AC79}" type="sibTrans" cxnId="{B4365856-BE63-4AFE-A500-4E9B18CD37FF}">
      <dgm:prSet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 l="-14000" r="-14000"/>
          </a:stretch>
        </a:blipFill>
      </dgm:spPr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DF045781-D078-4A39-A079-3ADF822BE67C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Methodik</a:t>
          </a:r>
        </a:p>
      </dgm:t>
    </dgm:pt>
    <dgm:pt modelId="{D607785E-856D-40F4-A252-4A2C9F60624C}" type="parTrans" cxnId="{449B1023-F87F-4B64-8931-CBC6ADF16CE1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0FAF6076-9CD0-4513-A3AC-FE5405A7486F}" type="sibTrans" cxnId="{449B1023-F87F-4B64-8931-CBC6ADF16CE1}">
      <dgm:prSet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rcRect/>
          <a:stretch>
            <a:fillRect l="-26000" r="-26000"/>
          </a:stretch>
        </a:blipFill>
      </dgm:spPr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E6AAF4D8-669C-4792-B976-9C2B24FA9243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Didaktik</a:t>
          </a:r>
        </a:p>
      </dgm:t>
    </dgm:pt>
    <dgm:pt modelId="{63F8B381-FE3E-43DC-BA39-D2E511F1FB26}" type="parTrans" cxnId="{43DF9E76-AFF7-4B0C-9426-2E570CD4A6B0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7971B8FE-7316-41B2-9393-7A2EC8AFF042}" type="sibTrans" cxnId="{43DF9E76-AFF7-4B0C-9426-2E570CD4A6B0}">
      <dgm:prSet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0"/>
              </a:ext>
            </a:extLst>
          </a:blip>
          <a:srcRect/>
          <a:stretch>
            <a:fillRect l="-31000" r="-31000"/>
          </a:stretch>
        </a:blipFill>
      </dgm:spPr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7D51C392-D592-45A5-A58F-A755DFBBFFCD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Lernorte</a:t>
          </a:r>
        </a:p>
      </dgm:t>
    </dgm:pt>
    <dgm:pt modelId="{C6BC1E6B-50F7-4A07-8D42-086381735510}" type="parTrans" cxnId="{E7687274-27F2-4A51-90BF-4BD3138CC82D}">
      <dgm:prSet/>
      <dgm:spPr/>
      <dgm:t>
        <a:bodyPr/>
        <a:lstStyle/>
        <a:p>
          <a:endParaRPr lang="de-DE"/>
        </a:p>
      </dgm:t>
    </dgm:pt>
    <dgm:pt modelId="{3A4EB8D7-C581-49DE-8343-6D075F91CCE2}" type="sibTrans" cxnId="{E7687274-27F2-4A51-90BF-4BD3138CC82D}">
      <dgm:prSet/>
      <dgm:spPr>
        <a:blipFill dpi="0" rotWithShape="1"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2"/>
              </a:ext>
            </a:extLst>
          </a:blip>
          <a:srcRect/>
          <a:stretch>
            <a:fillRect t="-18556" b="-37444"/>
          </a:stretch>
        </a:blipFill>
      </dgm:spPr>
      <dgm:t>
        <a:bodyPr/>
        <a:lstStyle/>
        <a:p>
          <a:endParaRPr lang="de-DE"/>
        </a:p>
      </dgm:t>
    </dgm:pt>
    <dgm:pt modelId="{14369314-9416-48A6-B158-222F5113CA48}" type="pres">
      <dgm:prSet presAssocID="{3D147E69-5AFF-4240-9EBB-9C58918DFE1C}" presName="Name0" presStyleCnt="0">
        <dgm:presLayoutVars>
          <dgm:chMax val="21"/>
          <dgm:chPref val="21"/>
        </dgm:presLayoutVars>
      </dgm:prSet>
      <dgm:spPr/>
    </dgm:pt>
    <dgm:pt modelId="{1D6123E2-1CF9-43F1-BFF7-634F4F9D26E1}" type="pres">
      <dgm:prSet presAssocID="{BA03124A-8174-4D61-8A02-A7F8F1D4990A}" presName="text1" presStyleCnt="0"/>
      <dgm:spPr/>
    </dgm:pt>
    <dgm:pt modelId="{62FAE04C-29B7-43A1-B5E2-A582235D4F8B}" type="pres">
      <dgm:prSet presAssocID="{BA03124A-8174-4D61-8A02-A7F8F1D4990A}" presName="textRepeatNode" presStyleLbl="alignNode1" presStyleIdx="0" presStyleCnt="6">
        <dgm:presLayoutVars>
          <dgm:chMax val="0"/>
          <dgm:chPref val="0"/>
          <dgm:bulletEnabled val="1"/>
        </dgm:presLayoutVars>
      </dgm:prSet>
      <dgm:spPr/>
    </dgm:pt>
    <dgm:pt modelId="{FE2ED74C-A8A3-4FA3-A82D-C3474F89DABF}" type="pres">
      <dgm:prSet presAssocID="{BA03124A-8174-4D61-8A02-A7F8F1D4990A}" presName="textaccent1" presStyleCnt="0"/>
      <dgm:spPr/>
    </dgm:pt>
    <dgm:pt modelId="{D46B3DA0-A0EF-48F9-9CB5-65C4AD5C545E}" type="pres">
      <dgm:prSet presAssocID="{BA03124A-8174-4D61-8A02-A7F8F1D4990A}" presName="accentRepeatNode" presStyleLbl="solidAlignAcc1" presStyleIdx="0" presStyleCnt="12"/>
      <dgm:spPr/>
    </dgm:pt>
    <dgm:pt modelId="{6BA2419E-D038-47EB-A431-33F7DCF57D16}" type="pres">
      <dgm:prSet presAssocID="{26BDD13B-B827-4573-A981-308D52793780}" presName="image1" presStyleCnt="0"/>
      <dgm:spPr/>
    </dgm:pt>
    <dgm:pt modelId="{B54F1497-F18F-4CF6-A561-59E8B80BCC9B}" type="pres">
      <dgm:prSet presAssocID="{26BDD13B-B827-4573-A981-308D52793780}" presName="imageRepeatNode" presStyleLbl="alignAcc1" presStyleIdx="0" presStyleCnt="6"/>
      <dgm:spPr/>
    </dgm:pt>
    <dgm:pt modelId="{E468446B-1517-40EB-8A96-709CF69A4995}" type="pres">
      <dgm:prSet presAssocID="{26BDD13B-B827-4573-A981-308D52793780}" presName="imageaccent1" presStyleCnt="0"/>
      <dgm:spPr/>
    </dgm:pt>
    <dgm:pt modelId="{6D706BEB-727A-4CEE-9582-370909A921F0}" type="pres">
      <dgm:prSet presAssocID="{26BDD13B-B827-4573-A981-308D52793780}" presName="accentRepeatNode" presStyleLbl="solidAlignAcc1" presStyleIdx="1" presStyleCnt="12"/>
      <dgm:spPr/>
    </dgm:pt>
    <dgm:pt modelId="{25E67F47-D17D-4226-B223-B3F93476568D}" type="pres">
      <dgm:prSet presAssocID="{67C72254-CB78-4F2C-B6DD-EDC8924ED9B2}" presName="text2" presStyleCnt="0"/>
      <dgm:spPr/>
    </dgm:pt>
    <dgm:pt modelId="{30F7E6F1-CC2A-476F-9749-D42EFE47F0F9}" type="pres">
      <dgm:prSet presAssocID="{67C72254-CB78-4F2C-B6DD-EDC8924ED9B2}" presName="textRepeatNode" presStyleLbl="alignNode1" presStyleIdx="1" presStyleCnt="6">
        <dgm:presLayoutVars>
          <dgm:chMax val="0"/>
          <dgm:chPref val="0"/>
          <dgm:bulletEnabled val="1"/>
        </dgm:presLayoutVars>
      </dgm:prSet>
      <dgm:spPr/>
    </dgm:pt>
    <dgm:pt modelId="{8370318B-2E9C-4CF2-A3C3-9EAD817BBE52}" type="pres">
      <dgm:prSet presAssocID="{67C72254-CB78-4F2C-B6DD-EDC8924ED9B2}" presName="textaccent2" presStyleCnt="0"/>
      <dgm:spPr/>
    </dgm:pt>
    <dgm:pt modelId="{F255647B-013D-43CA-AD9A-2C39BEE32CD2}" type="pres">
      <dgm:prSet presAssocID="{67C72254-CB78-4F2C-B6DD-EDC8924ED9B2}" presName="accentRepeatNode" presStyleLbl="solidAlignAcc1" presStyleIdx="2" presStyleCnt="12"/>
      <dgm:spPr/>
    </dgm:pt>
    <dgm:pt modelId="{B1C233AF-034C-4B38-9202-A380D5C1A40F}" type="pres">
      <dgm:prSet presAssocID="{2DC4E14B-ACFC-493A-9E64-4241B3ADD4DF}" presName="image2" presStyleCnt="0"/>
      <dgm:spPr/>
    </dgm:pt>
    <dgm:pt modelId="{1AC9A658-118A-41BD-A753-E1670DF52494}" type="pres">
      <dgm:prSet presAssocID="{2DC4E14B-ACFC-493A-9E64-4241B3ADD4DF}" presName="imageRepeatNode" presStyleLbl="alignAcc1" presStyleIdx="1" presStyleCnt="6"/>
      <dgm:spPr/>
    </dgm:pt>
    <dgm:pt modelId="{E9780EC6-1969-45B0-8B8A-463BA5840555}" type="pres">
      <dgm:prSet presAssocID="{2DC4E14B-ACFC-493A-9E64-4241B3ADD4DF}" presName="imageaccent2" presStyleCnt="0"/>
      <dgm:spPr/>
    </dgm:pt>
    <dgm:pt modelId="{7761100E-323A-47A1-91C8-BDF490331235}" type="pres">
      <dgm:prSet presAssocID="{2DC4E14B-ACFC-493A-9E64-4241B3ADD4DF}" presName="accentRepeatNode" presStyleLbl="solidAlignAcc1" presStyleIdx="3" presStyleCnt="12"/>
      <dgm:spPr/>
    </dgm:pt>
    <dgm:pt modelId="{4A999784-5D22-46C2-B550-4ABE36476FD4}" type="pres">
      <dgm:prSet presAssocID="{FC0F8FE3-EEFD-4339-B72B-1604EDDA7A2C}" presName="text3" presStyleCnt="0"/>
      <dgm:spPr/>
    </dgm:pt>
    <dgm:pt modelId="{F4485FCE-F5E2-478E-9EC9-4F2E2FF00EDA}" type="pres">
      <dgm:prSet presAssocID="{FC0F8FE3-EEFD-4339-B72B-1604EDDA7A2C}" presName="textRepeatNode" presStyleLbl="alignNode1" presStyleIdx="2" presStyleCnt="6">
        <dgm:presLayoutVars>
          <dgm:chMax val="0"/>
          <dgm:chPref val="0"/>
          <dgm:bulletEnabled val="1"/>
        </dgm:presLayoutVars>
      </dgm:prSet>
      <dgm:spPr/>
    </dgm:pt>
    <dgm:pt modelId="{E70623CF-2881-49EC-AE39-0F24C7280991}" type="pres">
      <dgm:prSet presAssocID="{FC0F8FE3-EEFD-4339-B72B-1604EDDA7A2C}" presName="textaccent3" presStyleCnt="0"/>
      <dgm:spPr/>
    </dgm:pt>
    <dgm:pt modelId="{27E9D124-FDE0-4F7F-8246-7B92FDAF362A}" type="pres">
      <dgm:prSet presAssocID="{FC0F8FE3-EEFD-4339-B72B-1604EDDA7A2C}" presName="accentRepeatNode" presStyleLbl="solidAlignAcc1" presStyleIdx="4" presStyleCnt="12"/>
      <dgm:spPr/>
    </dgm:pt>
    <dgm:pt modelId="{80DC9B54-163A-4EA0-9777-761E4EE17E63}" type="pres">
      <dgm:prSet presAssocID="{3211F3BB-9112-4777-B389-AFBBBD22AC79}" presName="image3" presStyleCnt="0"/>
      <dgm:spPr/>
    </dgm:pt>
    <dgm:pt modelId="{C6FB8F8C-D3AA-4706-9859-306B33B7AD00}" type="pres">
      <dgm:prSet presAssocID="{3211F3BB-9112-4777-B389-AFBBBD22AC79}" presName="imageRepeatNode" presStyleLbl="alignAcc1" presStyleIdx="2" presStyleCnt="6"/>
      <dgm:spPr/>
    </dgm:pt>
    <dgm:pt modelId="{D3D39546-DC26-47BB-8DDC-C9EA680D72F9}" type="pres">
      <dgm:prSet presAssocID="{3211F3BB-9112-4777-B389-AFBBBD22AC79}" presName="imageaccent3" presStyleCnt="0"/>
      <dgm:spPr/>
    </dgm:pt>
    <dgm:pt modelId="{BFF9B79B-FC08-4B75-B84F-159354B118E4}" type="pres">
      <dgm:prSet presAssocID="{3211F3BB-9112-4777-B389-AFBBBD22AC79}" presName="accentRepeatNode" presStyleLbl="solidAlignAcc1" presStyleIdx="5" presStyleCnt="12"/>
      <dgm:spPr/>
    </dgm:pt>
    <dgm:pt modelId="{F7278F83-48C6-480C-A121-051B1E80635E}" type="pres">
      <dgm:prSet presAssocID="{DF045781-D078-4A39-A079-3ADF822BE67C}" presName="text4" presStyleCnt="0"/>
      <dgm:spPr/>
    </dgm:pt>
    <dgm:pt modelId="{BB0B692C-1D26-4F4B-B07D-FA7D58616822}" type="pres">
      <dgm:prSet presAssocID="{DF045781-D078-4A39-A079-3ADF822BE67C}" presName="textRepeatNode" presStyleLbl="alignNode1" presStyleIdx="3" presStyleCnt="6">
        <dgm:presLayoutVars>
          <dgm:chMax val="0"/>
          <dgm:chPref val="0"/>
          <dgm:bulletEnabled val="1"/>
        </dgm:presLayoutVars>
      </dgm:prSet>
      <dgm:spPr/>
    </dgm:pt>
    <dgm:pt modelId="{5B9E7210-B3D8-48A9-9B61-22DB8E8AC28C}" type="pres">
      <dgm:prSet presAssocID="{DF045781-D078-4A39-A079-3ADF822BE67C}" presName="textaccent4" presStyleCnt="0"/>
      <dgm:spPr/>
    </dgm:pt>
    <dgm:pt modelId="{8242372B-EDC4-4A88-A74A-5C92080E0AFC}" type="pres">
      <dgm:prSet presAssocID="{DF045781-D078-4A39-A079-3ADF822BE67C}" presName="accentRepeatNode" presStyleLbl="solidAlignAcc1" presStyleIdx="6" presStyleCnt="12"/>
      <dgm:spPr/>
    </dgm:pt>
    <dgm:pt modelId="{28C409E4-2792-49FA-B18E-925631D060A0}" type="pres">
      <dgm:prSet presAssocID="{0FAF6076-9CD0-4513-A3AC-FE5405A7486F}" presName="image4" presStyleCnt="0"/>
      <dgm:spPr/>
    </dgm:pt>
    <dgm:pt modelId="{33CD88B2-63B6-4AED-8AD7-68D78990238A}" type="pres">
      <dgm:prSet presAssocID="{0FAF6076-9CD0-4513-A3AC-FE5405A7486F}" presName="imageRepeatNode" presStyleLbl="alignAcc1" presStyleIdx="3" presStyleCnt="6"/>
      <dgm:spPr/>
    </dgm:pt>
    <dgm:pt modelId="{717C7ED0-FFA1-4783-B253-89E9FA072442}" type="pres">
      <dgm:prSet presAssocID="{0FAF6076-9CD0-4513-A3AC-FE5405A7486F}" presName="imageaccent4" presStyleCnt="0"/>
      <dgm:spPr/>
    </dgm:pt>
    <dgm:pt modelId="{92A77EDA-0185-4443-BAAC-BD90D3E645DF}" type="pres">
      <dgm:prSet presAssocID="{0FAF6076-9CD0-4513-A3AC-FE5405A7486F}" presName="accentRepeatNode" presStyleLbl="solidAlignAcc1" presStyleIdx="7" presStyleCnt="12"/>
      <dgm:spPr/>
    </dgm:pt>
    <dgm:pt modelId="{5945EC90-35C7-4A79-90A0-81CC066B0B48}" type="pres">
      <dgm:prSet presAssocID="{E6AAF4D8-669C-4792-B976-9C2B24FA9243}" presName="text5" presStyleCnt="0"/>
      <dgm:spPr/>
    </dgm:pt>
    <dgm:pt modelId="{122E790F-3D92-4841-AD15-750FC5FFED7F}" type="pres">
      <dgm:prSet presAssocID="{E6AAF4D8-669C-4792-B976-9C2B24FA9243}" presName="textRepeatNode" presStyleLbl="alignNode1" presStyleIdx="4" presStyleCnt="6">
        <dgm:presLayoutVars>
          <dgm:chMax val="0"/>
          <dgm:chPref val="0"/>
          <dgm:bulletEnabled val="1"/>
        </dgm:presLayoutVars>
      </dgm:prSet>
      <dgm:spPr/>
    </dgm:pt>
    <dgm:pt modelId="{BD396638-5EA7-4D65-B8C6-0CC907D2E82D}" type="pres">
      <dgm:prSet presAssocID="{E6AAF4D8-669C-4792-B976-9C2B24FA9243}" presName="textaccent5" presStyleCnt="0"/>
      <dgm:spPr/>
    </dgm:pt>
    <dgm:pt modelId="{29A4CBD0-F969-44AB-B822-66153985ECC6}" type="pres">
      <dgm:prSet presAssocID="{E6AAF4D8-669C-4792-B976-9C2B24FA9243}" presName="accentRepeatNode" presStyleLbl="solidAlignAcc1" presStyleIdx="8" presStyleCnt="12"/>
      <dgm:spPr/>
    </dgm:pt>
    <dgm:pt modelId="{EA523F42-4524-47DF-9CDD-B793EDCC5D6B}" type="pres">
      <dgm:prSet presAssocID="{7971B8FE-7316-41B2-9393-7A2EC8AFF042}" presName="image5" presStyleCnt="0"/>
      <dgm:spPr/>
    </dgm:pt>
    <dgm:pt modelId="{788C4D25-67F4-4D1E-BEE2-EE597CC7CF46}" type="pres">
      <dgm:prSet presAssocID="{7971B8FE-7316-41B2-9393-7A2EC8AFF042}" presName="imageRepeatNode" presStyleLbl="alignAcc1" presStyleIdx="4" presStyleCnt="6"/>
      <dgm:spPr/>
    </dgm:pt>
    <dgm:pt modelId="{CB2504C3-3548-460A-80FF-49FE9B58D016}" type="pres">
      <dgm:prSet presAssocID="{7971B8FE-7316-41B2-9393-7A2EC8AFF042}" presName="imageaccent5" presStyleCnt="0"/>
      <dgm:spPr/>
    </dgm:pt>
    <dgm:pt modelId="{81FFA862-90A5-4115-B6D3-332F459A4F23}" type="pres">
      <dgm:prSet presAssocID="{7971B8FE-7316-41B2-9393-7A2EC8AFF042}" presName="accentRepeatNode" presStyleLbl="solidAlignAcc1" presStyleIdx="9" presStyleCnt="12"/>
      <dgm:spPr/>
    </dgm:pt>
    <dgm:pt modelId="{B7862D3E-94FE-44E3-A4E8-25D21B17E678}" type="pres">
      <dgm:prSet presAssocID="{7D51C392-D592-45A5-A58F-A755DFBBFFCD}" presName="text6" presStyleCnt="0"/>
      <dgm:spPr/>
    </dgm:pt>
    <dgm:pt modelId="{D6D8E77F-7F55-4937-99B2-AC25879EDDF3}" type="pres">
      <dgm:prSet presAssocID="{7D51C392-D592-45A5-A58F-A755DFBBFFCD}" presName="textRepeatNode" presStyleLbl="alignNode1" presStyleIdx="5" presStyleCnt="6">
        <dgm:presLayoutVars>
          <dgm:chMax val="0"/>
          <dgm:chPref val="0"/>
          <dgm:bulletEnabled val="1"/>
        </dgm:presLayoutVars>
      </dgm:prSet>
      <dgm:spPr/>
    </dgm:pt>
    <dgm:pt modelId="{C9D0B210-4014-4AF6-943D-347D7F50F77A}" type="pres">
      <dgm:prSet presAssocID="{7D51C392-D592-45A5-A58F-A755DFBBFFCD}" presName="textaccent6" presStyleCnt="0"/>
      <dgm:spPr/>
    </dgm:pt>
    <dgm:pt modelId="{56A921EC-D97B-4C86-8B3A-665CF4725167}" type="pres">
      <dgm:prSet presAssocID="{7D51C392-D592-45A5-A58F-A755DFBBFFCD}" presName="accentRepeatNode" presStyleLbl="solidAlignAcc1" presStyleIdx="10" presStyleCnt="12"/>
      <dgm:spPr/>
    </dgm:pt>
    <dgm:pt modelId="{2981C04B-33D8-41DA-8124-DD5CF7C897DC}" type="pres">
      <dgm:prSet presAssocID="{3A4EB8D7-C581-49DE-8343-6D075F91CCE2}" presName="image6" presStyleCnt="0"/>
      <dgm:spPr/>
    </dgm:pt>
    <dgm:pt modelId="{0EBF8A79-F3D8-44F1-B345-BC80CDEEBC19}" type="pres">
      <dgm:prSet presAssocID="{3A4EB8D7-C581-49DE-8343-6D075F91CCE2}" presName="imageRepeatNode" presStyleLbl="alignAcc1" presStyleIdx="5" presStyleCnt="6"/>
      <dgm:spPr/>
    </dgm:pt>
    <dgm:pt modelId="{74FA870C-D317-4E7F-A7B0-E1A2FCF3C45D}" type="pres">
      <dgm:prSet presAssocID="{3A4EB8D7-C581-49DE-8343-6D075F91CCE2}" presName="imageaccent6" presStyleCnt="0"/>
      <dgm:spPr/>
    </dgm:pt>
    <dgm:pt modelId="{AB2095DC-5E12-4B67-A610-CCC40489A159}" type="pres">
      <dgm:prSet presAssocID="{3A4EB8D7-C581-49DE-8343-6D075F91CCE2}" presName="accentRepeatNode" presStyleLbl="solidAlignAcc1" presStyleIdx="11" presStyleCnt="12"/>
      <dgm:spPr/>
    </dgm:pt>
  </dgm:ptLst>
  <dgm:cxnLst>
    <dgm:cxn modelId="{222BD302-FEC4-45BB-A10F-6BDB528AF6F9}" type="presOf" srcId="{3211F3BB-9112-4777-B389-AFBBBD22AC79}" destId="{C6FB8F8C-D3AA-4706-9859-306B33B7AD00}" srcOrd="0" destOrd="0" presId="urn:microsoft.com/office/officeart/2008/layout/HexagonCluster"/>
    <dgm:cxn modelId="{DBE6E315-A3B4-406C-94C7-FE83F218EFC0}" type="presOf" srcId="{DF045781-D078-4A39-A079-3ADF822BE67C}" destId="{BB0B692C-1D26-4F4B-B07D-FA7D58616822}" srcOrd="0" destOrd="0" presId="urn:microsoft.com/office/officeart/2008/layout/HexagonCluster"/>
    <dgm:cxn modelId="{85788016-C64C-4946-A9CE-C508B702D689}" srcId="{3D147E69-5AFF-4240-9EBB-9C58918DFE1C}" destId="{67C72254-CB78-4F2C-B6DD-EDC8924ED9B2}" srcOrd="1" destOrd="0" parTransId="{D48F86B5-FFC7-4F73-AAED-2A291A9CA628}" sibTransId="{2DC4E14B-ACFC-493A-9E64-4241B3ADD4DF}"/>
    <dgm:cxn modelId="{26D22E1D-C8AA-486E-BF2F-5443157ED958}" type="presOf" srcId="{7D51C392-D592-45A5-A58F-A755DFBBFFCD}" destId="{D6D8E77F-7F55-4937-99B2-AC25879EDDF3}" srcOrd="0" destOrd="0" presId="urn:microsoft.com/office/officeart/2008/layout/HexagonCluster"/>
    <dgm:cxn modelId="{449B1023-F87F-4B64-8931-CBC6ADF16CE1}" srcId="{3D147E69-5AFF-4240-9EBB-9C58918DFE1C}" destId="{DF045781-D078-4A39-A079-3ADF822BE67C}" srcOrd="3" destOrd="0" parTransId="{D607785E-856D-40F4-A252-4A2C9F60624C}" sibTransId="{0FAF6076-9CD0-4513-A3AC-FE5405A7486F}"/>
    <dgm:cxn modelId="{52867426-37D5-4E3D-8EF0-821918B487C7}" type="presOf" srcId="{BA03124A-8174-4D61-8A02-A7F8F1D4990A}" destId="{62FAE04C-29B7-43A1-B5E2-A582235D4F8B}" srcOrd="0" destOrd="0" presId="urn:microsoft.com/office/officeart/2008/layout/HexagonCluster"/>
    <dgm:cxn modelId="{1D71F72E-4898-48CB-99C3-2D075608D5C3}" type="presOf" srcId="{67C72254-CB78-4F2C-B6DD-EDC8924ED9B2}" destId="{30F7E6F1-CC2A-476F-9749-D42EFE47F0F9}" srcOrd="0" destOrd="0" presId="urn:microsoft.com/office/officeart/2008/layout/HexagonCluster"/>
    <dgm:cxn modelId="{B622C361-1953-43A3-B9BE-716F1CD6D569}" type="presOf" srcId="{FC0F8FE3-EEFD-4339-B72B-1604EDDA7A2C}" destId="{F4485FCE-F5E2-478E-9EC9-4F2E2FF00EDA}" srcOrd="0" destOrd="0" presId="urn:microsoft.com/office/officeart/2008/layout/HexagonCluster"/>
    <dgm:cxn modelId="{B96C9265-36E8-476E-B834-342A626091AE}" type="presOf" srcId="{7971B8FE-7316-41B2-9393-7A2EC8AFF042}" destId="{788C4D25-67F4-4D1E-BEE2-EE597CC7CF46}" srcOrd="0" destOrd="0" presId="urn:microsoft.com/office/officeart/2008/layout/HexagonCluster"/>
    <dgm:cxn modelId="{A44C6568-9E0F-4E4F-A269-B2E76606F7B5}" type="presOf" srcId="{3D147E69-5AFF-4240-9EBB-9C58918DFE1C}" destId="{14369314-9416-48A6-B158-222F5113CA48}" srcOrd="0" destOrd="0" presId="urn:microsoft.com/office/officeart/2008/layout/HexagonCluster"/>
    <dgm:cxn modelId="{74DF4D49-3892-4136-BE49-2EBA50E5231B}" type="presOf" srcId="{0FAF6076-9CD0-4513-A3AC-FE5405A7486F}" destId="{33CD88B2-63B6-4AED-8AD7-68D78990238A}" srcOrd="0" destOrd="0" presId="urn:microsoft.com/office/officeart/2008/layout/HexagonCluster"/>
    <dgm:cxn modelId="{E7687274-27F2-4A51-90BF-4BD3138CC82D}" srcId="{3D147E69-5AFF-4240-9EBB-9C58918DFE1C}" destId="{7D51C392-D592-45A5-A58F-A755DFBBFFCD}" srcOrd="5" destOrd="0" parTransId="{C6BC1E6B-50F7-4A07-8D42-086381735510}" sibTransId="{3A4EB8D7-C581-49DE-8343-6D075F91CCE2}"/>
    <dgm:cxn modelId="{FAA08575-4F01-4CF4-961D-1B166836B038}" srcId="{3D147E69-5AFF-4240-9EBB-9C58918DFE1C}" destId="{BA03124A-8174-4D61-8A02-A7F8F1D4990A}" srcOrd="0" destOrd="0" parTransId="{19441B7E-B43F-462F-A871-506606753F87}" sibTransId="{26BDD13B-B827-4573-A981-308D52793780}"/>
    <dgm:cxn modelId="{B4365856-BE63-4AFE-A500-4E9B18CD37FF}" srcId="{3D147E69-5AFF-4240-9EBB-9C58918DFE1C}" destId="{FC0F8FE3-EEFD-4339-B72B-1604EDDA7A2C}" srcOrd="2" destOrd="0" parTransId="{C12FAAD6-5A89-4B95-9C61-CA4CFEC8B607}" sibTransId="{3211F3BB-9112-4777-B389-AFBBBD22AC79}"/>
    <dgm:cxn modelId="{43DF9E76-AFF7-4B0C-9426-2E570CD4A6B0}" srcId="{3D147E69-5AFF-4240-9EBB-9C58918DFE1C}" destId="{E6AAF4D8-669C-4792-B976-9C2B24FA9243}" srcOrd="4" destOrd="0" parTransId="{63F8B381-FE3E-43DC-BA39-D2E511F1FB26}" sibTransId="{7971B8FE-7316-41B2-9393-7A2EC8AFF042}"/>
    <dgm:cxn modelId="{1B1E2558-BD68-41B3-B4C1-065125D00097}" type="presOf" srcId="{2DC4E14B-ACFC-493A-9E64-4241B3ADD4DF}" destId="{1AC9A658-118A-41BD-A753-E1670DF52494}" srcOrd="0" destOrd="0" presId="urn:microsoft.com/office/officeart/2008/layout/HexagonCluster"/>
    <dgm:cxn modelId="{A2627999-F328-4522-82F7-2548BB596AB6}" type="presOf" srcId="{E6AAF4D8-669C-4792-B976-9C2B24FA9243}" destId="{122E790F-3D92-4841-AD15-750FC5FFED7F}" srcOrd="0" destOrd="0" presId="urn:microsoft.com/office/officeart/2008/layout/HexagonCluster"/>
    <dgm:cxn modelId="{2A5805B9-1AD2-4D4B-A366-21F8C9E4F966}" type="presOf" srcId="{26BDD13B-B827-4573-A981-308D52793780}" destId="{B54F1497-F18F-4CF6-A561-59E8B80BCC9B}" srcOrd="0" destOrd="0" presId="urn:microsoft.com/office/officeart/2008/layout/HexagonCluster"/>
    <dgm:cxn modelId="{FB61AAFD-0CD9-403C-B798-79D10D9AF0F4}" type="presOf" srcId="{3A4EB8D7-C581-49DE-8343-6D075F91CCE2}" destId="{0EBF8A79-F3D8-44F1-B345-BC80CDEEBC19}" srcOrd="0" destOrd="0" presId="urn:microsoft.com/office/officeart/2008/layout/HexagonCluster"/>
    <dgm:cxn modelId="{2EE5EC9A-C2D6-4899-B0F9-C3C58E1D2933}" type="presParOf" srcId="{14369314-9416-48A6-B158-222F5113CA48}" destId="{1D6123E2-1CF9-43F1-BFF7-634F4F9D26E1}" srcOrd="0" destOrd="0" presId="urn:microsoft.com/office/officeart/2008/layout/HexagonCluster"/>
    <dgm:cxn modelId="{FA9C01B4-AA10-47CF-BECB-28D3DFF92DD8}" type="presParOf" srcId="{1D6123E2-1CF9-43F1-BFF7-634F4F9D26E1}" destId="{62FAE04C-29B7-43A1-B5E2-A582235D4F8B}" srcOrd="0" destOrd="0" presId="urn:microsoft.com/office/officeart/2008/layout/HexagonCluster"/>
    <dgm:cxn modelId="{E119EEFB-5659-4240-A815-3DE681F19E1E}" type="presParOf" srcId="{14369314-9416-48A6-B158-222F5113CA48}" destId="{FE2ED74C-A8A3-4FA3-A82D-C3474F89DABF}" srcOrd="1" destOrd="0" presId="urn:microsoft.com/office/officeart/2008/layout/HexagonCluster"/>
    <dgm:cxn modelId="{EFADAFE2-19BD-4F60-A542-5183F4E17D04}" type="presParOf" srcId="{FE2ED74C-A8A3-4FA3-A82D-C3474F89DABF}" destId="{D46B3DA0-A0EF-48F9-9CB5-65C4AD5C545E}" srcOrd="0" destOrd="0" presId="urn:microsoft.com/office/officeart/2008/layout/HexagonCluster"/>
    <dgm:cxn modelId="{2074AB59-2029-4A07-A918-59817603B754}" type="presParOf" srcId="{14369314-9416-48A6-B158-222F5113CA48}" destId="{6BA2419E-D038-47EB-A431-33F7DCF57D16}" srcOrd="2" destOrd="0" presId="urn:microsoft.com/office/officeart/2008/layout/HexagonCluster"/>
    <dgm:cxn modelId="{E6443ACB-2636-4A0C-B0D2-E2B29D8F3225}" type="presParOf" srcId="{6BA2419E-D038-47EB-A431-33F7DCF57D16}" destId="{B54F1497-F18F-4CF6-A561-59E8B80BCC9B}" srcOrd="0" destOrd="0" presId="urn:microsoft.com/office/officeart/2008/layout/HexagonCluster"/>
    <dgm:cxn modelId="{E7861F28-1369-42BF-9306-E5CB648E6A82}" type="presParOf" srcId="{14369314-9416-48A6-B158-222F5113CA48}" destId="{E468446B-1517-40EB-8A96-709CF69A4995}" srcOrd="3" destOrd="0" presId="urn:microsoft.com/office/officeart/2008/layout/HexagonCluster"/>
    <dgm:cxn modelId="{C877371D-D1AE-4830-94DC-8E25B1398B99}" type="presParOf" srcId="{E468446B-1517-40EB-8A96-709CF69A4995}" destId="{6D706BEB-727A-4CEE-9582-370909A921F0}" srcOrd="0" destOrd="0" presId="urn:microsoft.com/office/officeart/2008/layout/HexagonCluster"/>
    <dgm:cxn modelId="{697F1092-9DD8-4438-9DDD-04027BF6429E}" type="presParOf" srcId="{14369314-9416-48A6-B158-222F5113CA48}" destId="{25E67F47-D17D-4226-B223-B3F93476568D}" srcOrd="4" destOrd="0" presId="urn:microsoft.com/office/officeart/2008/layout/HexagonCluster"/>
    <dgm:cxn modelId="{B9A4D1AF-1F2E-464B-BE37-B99526CFF72A}" type="presParOf" srcId="{25E67F47-D17D-4226-B223-B3F93476568D}" destId="{30F7E6F1-CC2A-476F-9749-D42EFE47F0F9}" srcOrd="0" destOrd="0" presId="urn:microsoft.com/office/officeart/2008/layout/HexagonCluster"/>
    <dgm:cxn modelId="{FEB96F1C-8746-4220-9615-6057AFB43D34}" type="presParOf" srcId="{14369314-9416-48A6-B158-222F5113CA48}" destId="{8370318B-2E9C-4CF2-A3C3-9EAD817BBE52}" srcOrd="5" destOrd="0" presId="urn:microsoft.com/office/officeart/2008/layout/HexagonCluster"/>
    <dgm:cxn modelId="{915541D0-9D30-4C9D-BA59-1A37931DCBBB}" type="presParOf" srcId="{8370318B-2E9C-4CF2-A3C3-9EAD817BBE52}" destId="{F255647B-013D-43CA-AD9A-2C39BEE32CD2}" srcOrd="0" destOrd="0" presId="urn:microsoft.com/office/officeart/2008/layout/HexagonCluster"/>
    <dgm:cxn modelId="{A41250F8-7B79-4D0D-A7BB-C1AF27DE486C}" type="presParOf" srcId="{14369314-9416-48A6-B158-222F5113CA48}" destId="{B1C233AF-034C-4B38-9202-A380D5C1A40F}" srcOrd="6" destOrd="0" presId="urn:microsoft.com/office/officeart/2008/layout/HexagonCluster"/>
    <dgm:cxn modelId="{C8A393A5-DC30-4DC3-A57E-66A2D478AAA3}" type="presParOf" srcId="{B1C233AF-034C-4B38-9202-A380D5C1A40F}" destId="{1AC9A658-118A-41BD-A753-E1670DF52494}" srcOrd="0" destOrd="0" presId="urn:microsoft.com/office/officeart/2008/layout/HexagonCluster"/>
    <dgm:cxn modelId="{A9381055-CB14-4EA6-88AF-AF106FAAAEDE}" type="presParOf" srcId="{14369314-9416-48A6-B158-222F5113CA48}" destId="{E9780EC6-1969-45B0-8B8A-463BA5840555}" srcOrd="7" destOrd="0" presId="urn:microsoft.com/office/officeart/2008/layout/HexagonCluster"/>
    <dgm:cxn modelId="{FE404EA0-7E17-4056-92F0-F68947477A16}" type="presParOf" srcId="{E9780EC6-1969-45B0-8B8A-463BA5840555}" destId="{7761100E-323A-47A1-91C8-BDF490331235}" srcOrd="0" destOrd="0" presId="urn:microsoft.com/office/officeart/2008/layout/HexagonCluster"/>
    <dgm:cxn modelId="{717D1A68-1BA1-4E94-8566-D348D95165BB}" type="presParOf" srcId="{14369314-9416-48A6-B158-222F5113CA48}" destId="{4A999784-5D22-46C2-B550-4ABE36476FD4}" srcOrd="8" destOrd="0" presId="urn:microsoft.com/office/officeart/2008/layout/HexagonCluster"/>
    <dgm:cxn modelId="{7E1FFFB0-F38A-427A-8598-FF46C8623B8A}" type="presParOf" srcId="{4A999784-5D22-46C2-B550-4ABE36476FD4}" destId="{F4485FCE-F5E2-478E-9EC9-4F2E2FF00EDA}" srcOrd="0" destOrd="0" presId="urn:microsoft.com/office/officeart/2008/layout/HexagonCluster"/>
    <dgm:cxn modelId="{B518A4CD-C4DD-45BA-AF68-A37CED529765}" type="presParOf" srcId="{14369314-9416-48A6-B158-222F5113CA48}" destId="{E70623CF-2881-49EC-AE39-0F24C7280991}" srcOrd="9" destOrd="0" presId="urn:microsoft.com/office/officeart/2008/layout/HexagonCluster"/>
    <dgm:cxn modelId="{0973C494-0AA1-4472-818B-E83E58964820}" type="presParOf" srcId="{E70623CF-2881-49EC-AE39-0F24C7280991}" destId="{27E9D124-FDE0-4F7F-8246-7B92FDAF362A}" srcOrd="0" destOrd="0" presId="urn:microsoft.com/office/officeart/2008/layout/HexagonCluster"/>
    <dgm:cxn modelId="{F1B7C31F-3749-4295-B6F5-9898B74B3E3F}" type="presParOf" srcId="{14369314-9416-48A6-B158-222F5113CA48}" destId="{80DC9B54-163A-4EA0-9777-761E4EE17E63}" srcOrd="10" destOrd="0" presId="urn:microsoft.com/office/officeart/2008/layout/HexagonCluster"/>
    <dgm:cxn modelId="{D9780165-3300-4D63-A732-04C7D5751C8F}" type="presParOf" srcId="{80DC9B54-163A-4EA0-9777-761E4EE17E63}" destId="{C6FB8F8C-D3AA-4706-9859-306B33B7AD00}" srcOrd="0" destOrd="0" presId="urn:microsoft.com/office/officeart/2008/layout/HexagonCluster"/>
    <dgm:cxn modelId="{2391463E-7102-4E9B-A239-80EEF0158D40}" type="presParOf" srcId="{14369314-9416-48A6-B158-222F5113CA48}" destId="{D3D39546-DC26-47BB-8DDC-C9EA680D72F9}" srcOrd="11" destOrd="0" presId="urn:microsoft.com/office/officeart/2008/layout/HexagonCluster"/>
    <dgm:cxn modelId="{897B8C14-5AA7-4A79-B394-2A3EDD8926B1}" type="presParOf" srcId="{D3D39546-DC26-47BB-8DDC-C9EA680D72F9}" destId="{BFF9B79B-FC08-4B75-B84F-159354B118E4}" srcOrd="0" destOrd="0" presId="urn:microsoft.com/office/officeart/2008/layout/HexagonCluster"/>
    <dgm:cxn modelId="{A82F64CE-4BA2-4146-8BDC-42814CCAC594}" type="presParOf" srcId="{14369314-9416-48A6-B158-222F5113CA48}" destId="{F7278F83-48C6-480C-A121-051B1E80635E}" srcOrd="12" destOrd="0" presId="urn:microsoft.com/office/officeart/2008/layout/HexagonCluster"/>
    <dgm:cxn modelId="{E129FA25-C884-4AD0-A71E-B9AEB2BA1CE9}" type="presParOf" srcId="{F7278F83-48C6-480C-A121-051B1E80635E}" destId="{BB0B692C-1D26-4F4B-B07D-FA7D58616822}" srcOrd="0" destOrd="0" presId="urn:microsoft.com/office/officeart/2008/layout/HexagonCluster"/>
    <dgm:cxn modelId="{4FC5BD9A-7994-4677-BC63-DB2B4753553D}" type="presParOf" srcId="{14369314-9416-48A6-B158-222F5113CA48}" destId="{5B9E7210-B3D8-48A9-9B61-22DB8E8AC28C}" srcOrd="13" destOrd="0" presId="urn:microsoft.com/office/officeart/2008/layout/HexagonCluster"/>
    <dgm:cxn modelId="{588DC59F-3088-401A-83C7-6C629692810B}" type="presParOf" srcId="{5B9E7210-B3D8-48A9-9B61-22DB8E8AC28C}" destId="{8242372B-EDC4-4A88-A74A-5C92080E0AFC}" srcOrd="0" destOrd="0" presId="urn:microsoft.com/office/officeart/2008/layout/HexagonCluster"/>
    <dgm:cxn modelId="{4C4C1E72-A831-4AA2-B487-D7C875367A65}" type="presParOf" srcId="{14369314-9416-48A6-B158-222F5113CA48}" destId="{28C409E4-2792-49FA-B18E-925631D060A0}" srcOrd="14" destOrd="0" presId="urn:microsoft.com/office/officeart/2008/layout/HexagonCluster"/>
    <dgm:cxn modelId="{6D8CBC71-248E-4D69-9B06-B93F1D0F0FD0}" type="presParOf" srcId="{28C409E4-2792-49FA-B18E-925631D060A0}" destId="{33CD88B2-63B6-4AED-8AD7-68D78990238A}" srcOrd="0" destOrd="0" presId="urn:microsoft.com/office/officeart/2008/layout/HexagonCluster"/>
    <dgm:cxn modelId="{128B9FA6-A1B5-4212-88AB-3D74C3B0D7C8}" type="presParOf" srcId="{14369314-9416-48A6-B158-222F5113CA48}" destId="{717C7ED0-FFA1-4783-B253-89E9FA072442}" srcOrd="15" destOrd="0" presId="urn:microsoft.com/office/officeart/2008/layout/HexagonCluster"/>
    <dgm:cxn modelId="{197B7D90-BEAB-4AE4-9453-A3FFAD79A515}" type="presParOf" srcId="{717C7ED0-FFA1-4783-B253-89E9FA072442}" destId="{92A77EDA-0185-4443-BAAC-BD90D3E645DF}" srcOrd="0" destOrd="0" presId="urn:microsoft.com/office/officeart/2008/layout/HexagonCluster"/>
    <dgm:cxn modelId="{1BC1355E-DF57-4549-9004-F7919D6FBEA1}" type="presParOf" srcId="{14369314-9416-48A6-B158-222F5113CA48}" destId="{5945EC90-35C7-4A79-90A0-81CC066B0B48}" srcOrd="16" destOrd="0" presId="urn:microsoft.com/office/officeart/2008/layout/HexagonCluster"/>
    <dgm:cxn modelId="{E927F745-A30C-435B-A0DE-BA17ABB69FB6}" type="presParOf" srcId="{5945EC90-35C7-4A79-90A0-81CC066B0B48}" destId="{122E790F-3D92-4841-AD15-750FC5FFED7F}" srcOrd="0" destOrd="0" presId="urn:microsoft.com/office/officeart/2008/layout/HexagonCluster"/>
    <dgm:cxn modelId="{09F72028-7909-4117-9733-D11FA829A2DE}" type="presParOf" srcId="{14369314-9416-48A6-B158-222F5113CA48}" destId="{BD396638-5EA7-4D65-B8C6-0CC907D2E82D}" srcOrd="17" destOrd="0" presId="urn:microsoft.com/office/officeart/2008/layout/HexagonCluster"/>
    <dgm:cxn modelId="{3CB98598-A1F4-4FAF-9CB2-3477272A6DA1}" type="presParOf" srcId="{BD396638-5EA7-4D65-B8C6-0CC907D2E82D}" destId="{29A4CBD0-F969-44AB-B822-66153985ECC6}" srcOrd="0" destOrd="0" presId="urn:microsoft.com/office/officeart/2008/layout/HexagonCluster"/>
    <dgm:cxn modelId="{BCECF217-29E5-45B0-8498-AE9494100F47}" type="presParOf" srcId="{14369314-9416-48A6-B158-222F5113CA48}" destId="{EA523F42-4524-47DF-9CDD-B793EDCC5D6B}" srcOrd="18" destOrd="0" presId="urn:microsoft.com/office/officeart/2008/layout/HexagonCluster"/>
    <dgm:cxn modelId="{8E82255F-462D-4F8B-8A35-3AE1034664FC}" type="presParOf" srcId="{EA523F42-4524-47DF-9CDD-B793EDCC5D6B}" destId="{788C4D25-67F4-4D1E-BEE2-EE597CC7CF46}" srcOrd="0" destOrd="0" presId="urn:microsoft.com/office/officeart/2008/layout/HexagonCluster"/>
    <dgm:cxn modelId="{2DDCE42C-0001-444F-863F-1C69D4B8E0E5}" type="presParOf" srcId="{14369314-9416-48A6-B158-222F5113CA48}" destId="{CB2504C3-3548-460A-80FF-49FE9B58D016}" srcOrd="19" destOrd="0" presId="urn:microsoft.com/office/officeart/2008/layout/HexagonCluster"/>
    <dgm:cxn modelId="{E731817C-C15A-493D-9535-B53D45CB8D7C}" type="presParOf" srcId="{CB2504C3-3548-460A-80FF-49FE9B58D016}" destId="{81FFA862-90A5-4115-B6D3-332F459A4F23}" srcOrd="0" destOrd="0" presId="urn:microsoft.com/office/officeart/2008/layout/HexagonCluster"/>
    <dgm:cxn modelId="{D6CC2DF0-4FD1-4507-8EF7-0A4C971814BE}" type="presParOf" srcId="{14369314-9416-48A6-B158-222F5113CA48}" destId="{B7862D3E-94FE-44E3-A4E8-25D21B17E678}" srcOrd="20" destOrd="0" presId="urn:microsoft.com/office/officeart/2008/layout/HexagonCluster"/>
    <dgm:cxn modelId="{C8C59D26-F6DC-4279-B25A-B6E24A8235E5}" type="presParOf" srcId="{B7862D3E-94FE-44E3-A4E8-25D21B17E678}" destId="{D6D8E77F-7F55-4937-99B2-AC25879EDDF3}" srcOrd="0" destOrd="0" presId="urn:microsoft.com/office/officeart/2008/layout/HexagonCluster"/>
    <dgm:cxn modelId="{4F27FE47-B50A-4A06-B373-223D1C3CF134}" type="presParOf" srcId="{14369314-9416-48A6-B158-222F5113CA48}" destId="{C9D0B210-4014-4AF6-943D-347D7F50F77A}" srcOrd="21" destOrd="0" presId="urn:microsoft.com/office/officeart/2008/layout/HexagonCluster"/>
    <dgm:cxn modelId="{0EAF77B1-B1BD-4A07-AE4A-3A0A101FE64F}" type="presParOf" srcId="{C9D0B210-4014-4AF6-943D-347D7F50F77A}" destId="{56A921EC-D97B-4C86-8B3A-665CF4725167}" srcOrd="0" destOrd="0" presId="urn:microsoft.com/office/officeart/2008/layout/HexagonCluster"/>
    <dgm:cxn modelId="{AC3AED62-5422-4263-B35F-31AD0FB191F0}" type="presParOf" srcId="{14369314-9416-48A6-B158-222F5113CA48}" destId="{2981C04B-33D8-41DA-8124-DD5CF7C897DC}" srcOrd="22" destOrd="0" presId="urn:microsoft.com/office/officeart/2008/layout/HexagonCluster"/>
    <dgm:cxn modelId="{C155EC8A-268F-4275-8189-6F4D8B455ED5}" type="presParOf" srcId="{2981C04B-33D8-41DA-8124-DD5CF7C897DC}" destId="{0EBF8A79-F3D8-44F1-B345-BC80CDEEBC19}" srcOrd="0" destOrd="0" presId="urn:microsoft.com/office/officeart/2008/layout/HexagonCluster"/>
    <dgm:cxn modelId="{0FBC74F4-56DD-4D19-AB4C-AF9642E15535}" type="presParOf" srcId="{14369314-9416-48A6-B158-222F5113CA48}" destId="{74FA870C-D317-4E7F-A7B0-E1A2FCF3C45D}" srcOrd="23" destOrd="0" presId="urn:microsoft.com/office/officeart/2008/layout/HexagonCluster"/>
    <dgm:cxn modelId="{75B78EBE-FDB7-422B-B8D9-89BCA269AAA6}" type="presParOf" srcId="{74FA870C-D317-4E7F-A7B0-E1A2FCF3C45D}" destId="{AB2095DC-5E12-4B67-A610-CCC40489A159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4C5FF32D-9E13-44AC-B7A8-D297265C7314}" type="doc">
      <dgm:prSet loTypeId="urn:microsoft.com/office/officeart/2005/8/layout/vList3" loCatId="pictur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2FD1A198-0004-4918-998A-036421F41CAD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Aktives Zuhören</a:t>
          </a:r>
        </a:p>
      </dgm:t>
    </dgm:pt>
    <dgm:pt modelId="{F42AA4BA-B461-4E0A-A143-1003D0B17AD0}" type="parTrans" cxnId="{C7358BBD-04E0-4038-9D22-26A432C23BDE}">
      <dgm:prSet/>
      <dgm:spPr/>
      <dgm:t>
        <a:bodyPr/>
        <a:lstStyle/>
        <a:p>
          <a:endParaRPr lang="de-DE"/>
        </a:p>
      </dgm:t>
    </dgm:pt>
    <dgm:pt modelId="{E6B2070B-2840-4443-BB5B-1FF17355897F}" type="sibTrans" cxnId="{C7358BBD-04E0-4038-9D22-26A432C23BDE}">
      <dgm:prSet/>
      <dgm:spPr/>
      <dgm:t>
        <a:bodyPr/>
        <a:lstStyle/>
        <a:p>
          <a:endParaRPr lang="de-DE"/>
        </a:p>
      </dgm:t>
    </dgm:pt>
    <dgm:pt modelId="{91B91616-FE54-48F8-8DC0-71EE4A191010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5 Axiome nach </a:t>
          </a:r>
          <a:r>
            <a:rPr lang="de-DE" sz="2000" dirty="0" err="1">
              <a:solidFill>
                <a:schemeClr val="tx1"/>
              </a:solidFill>
            </a:rPr>
            <a:t>Watzlawik</a:t>
          </a:r>
          <a:endParaRPr lang="de-DE" sz="2000" dirty="0">
            <a:solidFill>
              <a:schemeClr val="tx1"/>
            </a:solidFill>
          </a:endParaRPr>
        </a:p>
      </dgm:t>
    </dgm:pt>
    <dgm:pt modelId="{6A7C06D3-6FBD-4127-9F20-8249EFC4FBDA}" type="parTrans" cxnId="{53122082-47ED-4A69-98DA-EC8BDC6D4535}">
      <dgm:prSet/>
      <dgm:spPr/>
      <dgm:t>
        <a:bodyPr/>
        <a:lstStyle/>
        <a:p>
          <a:endParaRPr lang="de-DE"/>
        </a:p>
      </dgm:t>
    </dgm:pt>
    <dgm:pt modelId="{F4EEFB28-591F-472F-8348-369FE4C7DF11}" type="sibTrans" cxnId="{53122082-47ED-4A69-98DA-EC8BDC6D4535}">
      <dgm:prSet/>
      <dgm:spPr/>
      <dgm:t>
        <a:bodyPr/>
        <a:lstStyle/>
        <a:p>
          <a:endParaRPr lang="de-DE"/>
        </a:p>
      </dgm:t>
    </dgm:pt>
    <dgm:pt modelId="{14471FD4-1881-428C-B92A-E977453A3A3F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Sender-Empfänger Modell – Shannon / Weaver </a:t>
          </a:r>
          <a:r>
            <a:rPr lang="de-DE" sz="1600" i="1" dirty="0">
              <a:solidFill>
                <a:schemeClr val="tx1"/>
              </a:solidFill>
            </a:rPr>
            <a:t>(Popcorn/Pommes)</a:t>
          </a:r>
          <a:endParaRPr lang="de-DE" sz="2000" i="1" dirty="0">
            <a:solidFill>
              <a:schemeClr val="tx1"/>
            </a:solidFill>
          </a:endParaRPr>
        </a:p>
      </dgm:t>
    </dgm:pt>
    <dgm:pt modelId="{59303920-82AA-4494-B82A-717411637533}" type="parTrans" cxnId="{19D061E8-6EC2-469E-BC13-DEA2CAFC2874}">
      <dgm:prSet/>
      <dgm:spPr/>
      <dgm:t>
        <a:bodyPr/>
        <a:lstStyle/>
        <a:p>
          <a:endParaRPr lang="de-DE"/>
        </a:p>
      </dgm:t>
    </dgm:pt>
    <dgm:pt modelId="{F93FB19E-4DE5-4883-B272-4BBB1D8FC72A}" type="sibTrans" cxnId="{19D061E8-6EC2-469E-BC13-DEA2CAFC2874}">
      <dgm:prSet/>
      <dgm:spPr/>
      <dgm:t>
        <a:bodyPr/>
        <a:lstStyle/>
        <a:p>
          <a:endParaRPr lang="de-DE"/>
        </a:p>
      </dgm:t>
    </dgm:pt>
    <dgm:pt modelId="{58D88A49-252F-46F6-9F71-D594650C7502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Kommunikationsquadrat – Schulz von Thun</a:t>
          </a:r>
        </a:p>
      </dgm:t>
    </dgm:pt>
    <dgm:pt modelId="{49968151-1CD8-4621-9B48-CFBA29520869}" type="parTrans" cxnId="{5C8EF731-B0A2-4F89-AF88-9E838D6BC81B}">
      <dgm:prSet/>
      <dgm:spPr/>
      <dgm:t>
        <a:bodyPr/>
        <a:lstStyle/>
        <a:p>
          <a:endParaRPr lang="de-DE"/>
        </a:p>
      </dgm:t>
    </dgm:pt>
    <dgm:pt modelId="{0C618E62-526C-4307-B53E-059829731901}" type="sibTrans" cxnId="{5C8EF731-B0A2-4F89-AF88-9E838D6BC81B}">
      <dgm:prSet/>
      <dgm:spPr/>
      <dgm:t>
        <a:bodyPr/>
        <a:lstStyle/>
        <a:p>
          <a:endParaRPr lang="de-DE"/>
        </a:p>
      </dgm:t>
    </dgm:pt>
    <dgm:pt modelId="{ABB649EF-8E43-463F-867D-2D366C13CEE2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Johari-Fenster</a:t>
          </a:r>
        </a:p>
        <a:p>
          <a:r>
            <a:rPr lang="de-DE" sz="1600" i="1" dirty="0">
              <a:solidFill>
                <a:schemeClr val="tx1"/>
              </a:solidFill>
            </a:rPr>
            <a:t>(Apfel/Kirsch)</a:t>
          </a:r>
        </a:p>
      </dgm:t>
    </dgm:pt>
    <dgm:pt modelId="{895F95F1-81B7-4F67-A234-FA61A63E7447}" type="parTrans" cxnId="{2D5E4D77-977D-4F56-8B22-D21249BAF1C7}">
      <dgm:prSet/>
      <dgm:spPr/>
      <dgm:t>
        <a:bodyPr/>
        <a:lstStyle/>
        <a:p>
          <a:endParaRPr lang="de-DE"/>
        </a:p>
      </dgm:t>
    </dgm:pt>
    <dgm:pt modelId="{E16FED89-48DF-40F1-AEFA-1194C40383EF}" type="sibTrans" cxnId="{2D5E4D77-977D-4F56-8B22-D21249BAF1C7}">
      <dgm:prSet/>
      <dgm:spPr/>
      <dgm:t>
        <a:bodyPr/>
        <a:lstStyle/>
        <a:p>
          <a:endParaRPr lang="de-DE"/>
        </a:p>
      </dgm:t>
    </dgm:pt>
    <dgm:pt modelId="{539379D1-B1EA-43D5-B3E1-C6A1B188F144}" type="pres">
      <dgm:prSet presAssocID="{4C5FF32D-9E13-44AC-B7A8-D297265C7314}" presName="linearFlow" presStyleCnt="0">
        <dgm:presLayoutVars>
          <dgm:dir/>
          <dgm:resizeHandles val="exact"/>
        </dgm:presLayoutVars>
      </dgm:prSet>
      <dgm:spPr/>
    </dgm:pt>
    <dgm:pt modelId="{62C5BE28-71D6-40F6-AB2F-F2DD36BA8690}" type="pres">
      <dgm:prSet presAssocID="{2FD1A198-0004-4918-998A-036421F41CAD}" presName="composite" presStyleCnt="0"/>
      <dgm:spPr/>
    </dgm:pt>
    <dgm:pt modelId="{342FFB2F-595A-4F0B-AC66-FC6AC811DFA1}" type="pres">
      <dgm:prSet presAssocID="{2FD1A198-0004-4918-998A-036421F41CAD}" presName="imgShp" presStyleLbl="fgImgPlace1" presStyleIdx="0" presStyleCnt="5"/>
      <dgm:spPr>
        <a:blipFill rotWithShape="1">
          <a:blip xmlns:r="http://schemas.openxmlformats.org/officeDocument/2006/relationships" r:embed="rId1"/>
          <a:srcRect/>
          <a:stretch>
            <a:fillRect l="-7000" r="-7000"/>
          </a:stretch>
        </a:blipFill>
      </dgm:spPr>
    </dgm:pt>
    <dgm:pt modelId="{568C051B-AB63-403F-A160-E61478D66FCE}" type="pres">
      <dgm:prSet presAssocID="{2FD1A198-0004-4918-998A-036421F41CAD}" presName="txShp" presStyleLbl="node1" presStyleIdx="0" presStyleCnt="5">
        <dgm:presLayoutVars>
          <dgm:bulletEnabled val="1"/>
        </dgm:presLayoutVars>
      </dgm:prSet>
      <dgm:spPr/>
    </dgm:pt>
    <dgm:pt modelId="{7660D7C9-1C65-4C19-8AA5-7879F602F17E}" type="pres">
      <dgm:prSet presAssocID="{E6B2070B-2840-4443-BB5B-1FF17355897F}" presName="spacing" presStyleCnt="0"/>
      <dgm:spPr/>
    </dgm:pt>
    <dgm:pt modelId="{1F5EF59E-D725-4D37-9CC5-36144A508253}" type="pres">
      <dgm:prSet presAssocID="{91B91616-FE54-48F8-8DC0-71EE4A191010}" presName="composite" presStyleCnt="0"/>
      <dgm:spPr/>
    </dgm:pt>
    <dgm:pt modelId="{C03741AC-B658-4ECD-AA0E-629FCD2C1027}" type="pres">
      <dgm:prSet presAssocID="{91B91616-FE54-48F8-8DC0-71EE4A191010}" presName="imgShp" presStyleLbl="fgImgPlace1" presStyleIdx="1" presStyleCnt="5"/>
      <dgm:spPr>
        <a:blipFill rotWithShape="1">
          <a:blip xmlns:r="http://schemas.openxmlformats.org/officeDocument/2006/relationships" r:embed="rId2"/>
          <a:srcRect/>
          <a:stretch>
            <a:fillRect l="-15000" r="-15000"/>
          </a:stretch>
        </a:blipFill>
      </dgm:spPr>
    </dgm:pt>
    <dgm:pt modelId="{12F6337D-546F-4971-8C93-B583E0A9F3A4}" type="pres">
      <dgm:prSet presAssocID="{91B91616-FE54-48F8-8DC0-71EE4A191010}" presName="txShp" presStyleLbl="node1" presStyleIdx="1" presStyleCnt="5">
        <dgm:presLayoutVars>
          <dgm:bulletEnabled val="1"/>
        </dgm:presLayoutVars>
      </dgm:prSet>
      <dgm:spPr/>
    </dgm:pt>
    <dgm:pt modelId="{C71CC4CF-2A87-466F-952B-828EE56C4EB8}" type="pres">
      <dgm:prSet presAssocID="{F4EEFB28-591F-472F-8348-369FE4C7DF11}" presName="spacing" presStyleCnt="0"/>
      <dgm:spPr/>
    </dgm:pt>
    <dgm:pt modelId="{51A89686-6B37-4696-AD11-AC2AEA0F63D3}" type="pres">
      <dgm:prSet presAssocID="{14471FD4-1881-428C-B92A-E977453A3A3F}" presName="composite" presStyleCnt="0"/>
      <dgm:spPr/>
    </dgm:pt>
    <dgm:pt modelId="{09A1625C-073A-456C-9780-040B80F1829B}" type="pres">
      <dgm:prSet presAssocID="{14471FD4-1881-428C-B92A-E977453A3A3F}" presName="imgShp" presStyleLbl="fgImgPlace1" presStyleIdx="2" presStyleCnt="5"/>
      <dgm:spPr>
        <a:blipFill rotWithShape="1">
          <a:blip xmlns:r="http://schemas.openxmlformats.org/officeDocument/2006/relationships" r:embed="rId3"/>
          <a:srcRect/>
          <a:stretch>
            <a:fillRect t="-17000" b="-17000"/>
          </a:stretch>
        </a:blipFill>
      </dgm:spPr>
    </dgm:pt>
    <dgm:pt modelId="{A7B95053-951C-4BD5-9FAA-ABFB64730EA0}" type="pres">
      <dgm:prSet presAssocID="{14471FD4-1881-428C-B92A-E977453A3A3F}" presName="txShp" presStyleLbl="node1" presStyleIdx="2" presStyleCnt="5">
        <dgm:presLayoutVars>
          <dgm:bulletEnabled val="1"/>
        </dgm:presLayoutVars>
      </dgm:prSet>
      <dgm:spPr/>
    </dgm:pt>
    <dgm:pt modelId="{61B01022-D73B-42D6-96A7-1F164298702E}" type="pres">
      <dgm:prSet presAssocID="{F93FB19E-4DE5-4883-B272-4BBB1D8FC72A}" presName="spacing" presStyleCnt="0"/>
      <dgm:spPr/>
    </dgm:pt>
    <dgm:pt modelId="{6F6B6271-71DF-4770-80D7-E8F0F7FDDC76}" type="pres">
      <dgm:prSet presAssocID="{58D88A49-252F-46F6-9F71-D594650C7502}" presName="composite" presStyleCnt="0"/>
      <dgm:spPr/>
    </dgm:pt>
    <dgm:pt modelId="{DBC4E264-41E5-4007-9DD5-B777847AC49E}" type="pres">
      <dgm:prSet presAssocID="{58D88A49-252F-46F6-9F71-D594650C7502}" presName="imgShp" presStyleLbl="fgImgPlace1" presStyleIdx="3" presStyleCnt="5"/>
      <dgm:spPr>
        <a:blipFill rotWithShape="1">
          <a:blip xmlns:r="http://schemas.openxmlformats.org/officeDocument/2006/relationships" r:embed="rId4"/>
          <a:srcRect/>
          <a:stretch>
            <a:fillRect l="-7000" r="-7000"/>
          </a:stretch>
        </a:blipFill>
      </dgm:spPr>
    </dgm:pt>
    <dgm:pt modelId="{1BF313D2-F1CA-417E-9B60-BE178D9D79AD}" type="pres">
      <dgm:prSet presAssocID="{58D88A49-252F-46F6-9F71-D594650C7502}" presName="txShp" presStyleLbl="node1" presStyleIdx="3" presStyleCnt="5">
        <dgm:presLayoutVars>
          <dgm:bulletEnabled val="1"/>
        </dgm:presLayoutVars>
      </dgm:prSet>
      <dgm:spPr/>
    </dgm:pt>
    <dgm:pt modelId="{CA39F166-AF59-4996-B5E3-22197C3B5AD6}" type="pres">
      <dgm:prSet presAssocID="{0C618E62-526C-4307-B53E-059829731901}" presName="spacing" presStyleCnt="0"/>
      <dgm:spPr/>
    </dgm:pt>
    <dgm:pt modelId="{00D49C36-359D-4180-A751-0851EA5A3A4F}" type="pres">
      <dgm:prSet presAssocID="{ABB649EF-8E43-463F-867D-2D366C13CEE2}" presName="composite" presStyleCnt="0"/>
      <dgm:spPr/>
    </dgm:pt>
    <dgm:pt modelId="{3F80364F-CD31-455E-A0D9-69C1799F3BFE}" type="pres">
      <dgm:prSet presAssocID="{ABB649EF-8E43-463F-867D-2D366C13CEE2}" presName="imgShp" presStyleLbl="fgImgPlace1" presStyleIdx="4" presStyleCnt="5"/>
      <dgm:spPr>
        <a:blipFill rotWithShape="1">
          <a:blip xmlns:r="http://schemas.openxmlformats.org/officeDocument/2006/relationships" r:embed="rId5"/>
          <a:srcRect/>
          <a:stretch>
            <a:fillRect/>
          </a:stretch>
        </a:blipFill>
      </dgm:spPr>
    </dgm:pt>
    <dgm:pt modelId="{C5603483-8CA9-4929-979A-6AD6E8DF67A5}" type="pres">
      <dgm:prSet presAssocID="{ABB649EF-8E43-463F-867D-2D366C13CEE2}" presName="txShp" presStyleLbl="node1" presStyleIdx="4" presStyleCnt="5">
        <dgm:presLayoutVars>
          <dgm:bulletEnabled val="1"/>
        </dgm:presLayoutVars>
      </dgm:prSet>
      <dgm:spPr/>
    </dgm:pt>
  </dgm:ptLst>
  <dgm:cxnLst>
    <dgm:cxn modelId="{88D5CA04-F0D1-4581-A8FD-DE44D4719DA1}" type="presOf" srcId="{91B91616-FE54-48F8-8DC0-71EE4A191010}" destId="{12F6337D-546F-4971-8C93-B583E0A9F3A4}" srcOrd="0" destOrd="0" presId="urn:microsoft.com/office/officeart/2005/8/layout/vList3"/>
    <dgm:cxn modelId="{5FB00529-CB53-4CF5-AFA1-0260ABDA6358}" type="presOf" srcId="{58D88A49-252F-46F6-9F71-D594650C7502}" destId="{1BF313D2-F1CA-417E-9B60-BE178D9D79AD}" srcOrd="0" destOrd="0" presId="urn:microsoft.com/office/officeart/2005/8/layout/vList3"/>
    <dgm:cxn modelId="{5C8EF731-B0A2-4F89-AF88-9E838D6BC81B}" srcId="{4C5FF32D-9E13-44AC-B7A8-D297265C7314}" destId="{58D88A49-252F-46F6-9F71-D594650C7502}" srcOrd="3" destOrd="0" parTransId="{49968151-1CD8-4621-9B48-CFBA29520869}" sibTransId="{0C618E62-526C-4307-B53E-059829731901}"/>
    <dgm:cxn modelId="{8EA0E251-5E19-4E60-BC49-69160EB5AC24}" type="presOf" srcId="{14471FD4-1881-428C-B92A-E977453A3A3F}" destId="{A7B95053-951C-4BD5-9FAA-ABFB64730EA0}" srcOrd="0" destOrd="0" presId="urn:microsoft.com/office/officeart/2005/8/layout/vList3"/>
    <dgm:cxn modelId="{2D5E4D77-977D-4F56-8B22-D21249BAF1C7}" srcId="{4C5FF32D-9E13-44AC-B7A8-D297265C7314}" destId="{ABB649EF-8E43-463F-867D-2D366C13CEE2}" srcOrd="4" destOrd="0" parTransId="{895F95F1-81B7-4F67-A234-FA61A63E7447}" sibTransId="{E16FED89-48DF-40F1-AEFA-1194C40383EF}"/>
    <dgm:cxn modelId="{3AFE0B7C-BFC8-48C8-8FB5-39D10FF2DF6D}" type="presOf" srcId="{4C5FF32D-9E13-44AC-B7A8-D297265C7314}" destId="{539379D1-B1EA-43D5-B3E1-C6A1B188F144}" srcOrd="0" destOrd="0" presId="urn:microsoft.com/office/officeart/2005/8/layout/vList3"/>
    <dgm:cxn modelId="{53122082-47ED-4A69-98DA-EC8BDC6D4535}" srcId="{4C5FF32D-9E13-44AC-B7A8-D297265C7314}" destId="{91B91616-FE54-48F8-8DC0-71EE4A191010}" srcOrd="1" destOrd="0" parTransId="{6A7C06D3-6FBD-4127-9F20-8249EFC4FBDA}" sibTransId="{F4EEFB28-591F-472F-8348-369FE4C7DF11}"/>
    <dgm:cxn modelId="{30DD3586-E81F-480A-B52B-4F8DDF09837F}" type="presOf" srcId="{ABB649EF-8E43-463F-867D-2D366C13CEE2}" destId="{C5603483-8CA9-4929-979A-6AD6E8DF67A5}" srcOrd="0" destOrd="0" presId="urn:microsoft.com/office/officeart/2005/8/layout/vList3"/>
    <dgm:cxn modelId="{C7358BBD-04E0-4038-9D22-26A432C23BDE}" srcId="{4C5FF32D-9E13-44AC-B7A8-D297265C7314}" destId="{2FD1A198-0004-4918-998A-036421F41CAD}" srcOrd="0" destOrd="0" parTransId="{F42AA4BA-B461-4E0A-A143-1003D0B17AD0}" sibTransId="{E6B2070B-2840-4443-BB5B-1FF17355897F}"/>
    <dgm:cxn modelId="{FF7A3CE4-B278-45C8-9DB8-F5C72253E897}" type="presOf" srcId="{2FD1A198-0004-4918-998A-036421F41CAD}" destId="{568C051B-AB63-403F-A160-E61478D66FCE}" srcOrd="0" destOrd="0" presId="urn:microsoft.com/office/officeart/2005/8/layout/vList3"/>
    <dgm:cxn modelId="{19D061E8-6EC2-469E-BC13-DEA2CAFC2874}" srcId="{4C5FF32D-9E13-44AC-B7A8-D297265C7314}" destId="{14471FD4-1881-428C-B92A-E977453A3A3F}" srcOrd="2" destOrd="0" parTransId="{59303920-82AA-4494-B82A-717411637533}" sibTransId="{F93FB19E-4DE5-4883-B272-4BBB1D8FC72A}"/>
    <dgm:cxn modelId="{6C72F280-8354-441A-A052-21F1BE40308A}" type="presParOf" srcId="{539379D1-B1EA-43D5-B3E1-C6A1B188F144}" destId="{62C5BE28-71D6-40F6-AB2F-F2DD36BA8690}" srcOrd="0" destOrd="0" presId="urn:microsoft.com/office/officeart/2005/8/layout/vList3"/>
    <dgm:cxn modelId="{CBE9556E-2D52-4BC4-9EE5-401B340C155C}" type="presParOf" srcId="{62C5BE28-71D6-40F6-AB2F-F2DD36BA8690}" destId="{342FFB2F-595A-4F0B-AC66-FC6AC811DFA1}" srcOrd="0" destOrd="0" presId="urn:microsoft.com/office/officeart/2005/8/layout/vList3"/>
    <dgm:cxn modelId="{B3F0C3A2-675C-47F6-B09F-C60B53F69939}" type="presParOf" srcId="{62C5BE28-71D6-40F6-AB2F-F2DD36BA8690}" destId="{568C051B-AB63-403F-A160-E61478D66FCE}" srcOrd="1" destOrd="0" presId="urn:microsoft.com/office/officeart/2005/8/layout/vList3"/>
    <dgm:cxn modelId="{71762421-C4E8-4AAD-8321-9C3390896FEC}" type="presParOf" srcId="{539379D1-B1EA-43D5-B3E1-C6A1B188F144}" destId="{7660D7C9-1C65-4C19-8AA5-7879F602F17E}" srcOrd="1" destOrd="0" presId="urn:microsoft.com/office/officeart/2005/8/layout/vList3"/>
    <dgm:cxn modelId="{9177BB26-1B32-4825-933A-5FCA23153ACE}" type="presParOf" srcId="{539379D1-B1EA-43D5-B3E1-C6A1B188F144}" destId="{1F5EF59E-D725-4D37-9CC5-36144A508253}" srcOrd="2" destOrd="0" presId="urn:microsoft.com/office/officeart/2005/8/layout/vList3"/>
    <dgm:cxn modelId="{6FB27604-D329-40D3-A698-024935D7774D}" type="presParOf" srcId="{1F5EF59E-D725-4D37-9CC5-36144A508253}" destId="{C03741AC-B658-4ECD-AA0E-629FCD2C1027}" srcOrd="0" destOrd="0" presId="urn:microsoft.com/office/officeart/2005/8/layout/vList3"/>
    <dgm:cxn modelId="{DA03C518-3EE3-400C-81B5-D880AD9D11B7}" type="presParOf" srcId="{1F5EF59E-D725-4D37-9CC5-36144A508253}" destId="{12F6337D-546F-4971-8C93-B583E0A9F3A4}" srcOrd="1" destOrd="0" presId="urn:microsoft.com/office/officeart/2005/8/layout/vList3"/>
    <dgm:cxn modelId="{027F844B-94FC-4CD9-BBDD-813877C402E1}" type="presParOf" srcId="{539379D1-B1EA-43D5-B3E1-C6A1B188F144}" destId="{C71CC4CF-2A87-466F-952B-828EE56C4EB8}" srcOrd="3" destOrd="0" presId="urn:microsoft.com/office/officeart/2005/8/layout/vList3"/>
    <dgm:cxn modelId="{666BD028-FF80-4259-8938-45430CF47956}" type="presParOf" srcId="{539379D1-B1EA-43D5-B3E1-C6A1B188F144}" destId="{51A89686-6B37-4696-AD11-AC2AEA0F63D3}" srcOrd="4" destOrd="0" presId="urn:microsoft.com/office/officeart/2005/8/layout/vList3"/>
    <dgm:cxn modelId="{792F339B-F2D8-43E4-B7CE-FB375D1964C9}" type="presParOf" srcId="{51A89686-6B37-4696-AD11-AC2AEA0F63D3}" destId="{09A1625C-073A-456C-9780-040B80F1829B}" srcOrd="0" destOrd="0" presId="urn:microsoft.com/office/officeart/2005/8/layout/vList3"/>
    <dgm:cxn modelId="{CD8CB430-2C1F-4F4A-B937-CBB9E1B6BE31}" type="presParOf" srcId="{51A89686-6B37-4696-AD11-AC2AEA0F63D3}" destId="{A7B95053-951C-4BD5-9FAA-ABFB64730EA0}" srcOrd="1" destOrd="0" presId="urn:microsoft.com/office/officeart/2005/8/layout/vList3"/>
    <dgm:cxn modelId="{69EC4235-DA98-47F7-971B-9755F09B8BE0}" type="presParOf" srcId="{539379D1-B1EA-43D5-B3E1-C6A1B188F144}" destId="{61B01022-D73B-42D6-96A7-1F164298702E}" srcOrd="5" destOrd="0" presId="urn:microsoft.com/office/officeart/2005/8/layout/vList3"/>
    <dgm:cxn modelId="{07FFA139-CDD2-474F-A9B3-F845D5086F97}" type="presParOf" srcId="{539379D1-B1EA-43D5-B3E1-C6A1B188F144}" destId="{6F6B6271-71DF-4770-80D7-E8F0F7FDDC76}" srcOrd="6" destOrd="0" presId="urn:microsoft.com/office/officeart/2005/8/layout/vList3"/>
    <dgm:cxn modelId="{3E35B61C-44FD-4606-B35E-9B8AE4F99ECE}" type="presParOf" srcId="{6F6B6271-71DF-4770-80D7-E8F0F7FDDC76}" destId="{DBC4E264-41E5-4007-9DD5-B777847AC49E}" srcOrd="0" destOrd="0" presId="urn:microsoft.com/office/officeart/2005/8/layout/vList3"/>
    <dgm:cxn modelId="{2647112C-CAC2-4AFC-AD43-F2E2AEB89FFA}" type="presParOf" srcId="{6F6B6271-71DF-4770-80D7-E8F0F7FDDC76}" destId="{1BF313D2-F1CA-417E-9B60-BE178D9D79AD}" srcOrd="1" destOrd="0" presId="urn:microsoft.com/office/officeart/2005/8/layout/vList3"/>
    <dgm:cxn modelId="{1953F0AB-0388-4D36-A83B-CE80C6C4B7BA}" type="presParOf" srcId="{539379D1-B1EA-43D5-B3E1-C6A1B188F144}" destId="{CA39F166-AF59-4996-B5E3-22197C3B5AD6}" srcOrd="7" destOrd="0" presId="urn:microsoft.com/office/officeart/2005/8/layout/vList3"/>
    <dgm:cxn modelId="{E9CACE46-0876-4ECC-B469-C885F18B83FF}" type="presParOf" srcId="{539379D1-B1EA-43D5-B3E1-C6A1B188F144}" destId="{00D49C36-359D-4180-A751-0851EA5A3A4F}" srcOrd="8" destOrd="0" presId="urn:microsoft.com/office/officeart/2005/8/layout/vList3"/>
    <dgm:cxn modelId="{47D13850-AEAE-4EDF-A4DC-FD4152E648F7}" type="presParOf" srcId="{00D49C36-359D-4180-A751-0851EA5A3A4F}" destId="{3F80364F-CD31-455E-A0D9-69C1799F3BFE}" srcOrd="0" destOrd="0" presId="urn:microsoft.com/office/officeart/2005/8/layout/vList3"/>
    <dgm:cxn modelId="{0570A124-A834-403C-AE39-44E08B657373}" type="presParOf" srcId="{00D49C36-359D-4180-A751-0851EA5A3A4F}" destId="{C5603483-8CA9-4929-979A-6AD6E8DF67A5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4C5FF32D-9E13-44AC-B7A8-D297265C7314}" type="doc">
      <dgm:prSet loTypeId="urn:microsoft.com/office/officeart/2005/8/layout/vList3" loCatId="pictur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2FD1A198-0004-4918-998A-036421F41CAD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Aktives Zuhören</a:t>
          </a:r>
        </a:p>
      </dgm:t>
    </dgm:pt>
    <dgm:pt modelId="{F42AA4BA-B461-4E0A-A143-1003D0B17AD0}" type="parTrans" cxnId="{C7358BBD-04E0-4038-9D22-26A432C23BDE}">
      <dgm:prSet/>
      <dgm:spPr/>
      <dgm:t>
        <a:bodyPr/>
        <a:lstStyle/>
        <a:p>
          <a:endParaRPr lang="de-DE"/>
        </a:p>
      </dgm:t>
    </dgm:pt>
    <dgm:pt modelId="{E6B2070B-2840-4443-BB5B-1FF17355897F}" type="sibTrans" cxnId="{C7358BBD-04E0-4038-9D22-26A432C23BDE}">
      <dgm:prSet/>
      <dgm:spPr/>
      <dgm:t>
        <a:bodyPr/>
        <a:lstStyle/>
        <a:p>
          <a:endParaRPr lang="de-DE"/>
        </a:p>
      </dgm:t>
    </dgm:pt>
    <dgm:pt modelId="{91B91616-FE54-48F8-8DC0-71EE4A191010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5 Axiome nach </a:t>
          </a:r>
          <a:r>
            <a:rPr lang="de-DE" sz="2000" dirty="0" err="1">
              <a:solidFill>
                <a:schemeClr val="tx1"/>
              </a:solidFill>
            </a:rPr>
            <a:t>Watzlawik</a:t>
          </a:r>
          <a:endParaRPr lang="de-DE" sz="2000" dirty="0">
            <a:solidFill>
              <a:schemeClr val="tx1"/>
            </a:solidFill>
          </a:endParaRPr>
        </a:p>
      </dgm:t>
    </dgm:pt>
    <dgm:pt modelId="{6A7C06D3-6FBD-4127-9F20-8249EFC4FBDA}" type="parTrans" cxnId="{53122082-47ED-4A69-98DA-EC8BDC6D4535}">
      <dgm:prSet/>
      <dgm:spPr/>
      <dgm:t>
        <a:bodyPr/>
        <a:lstStyle/>
        <a:p>
          <a:endParaRPr lang="de-DE"/>
        </a:p>
      </dgm:t>
    </dgm:pt>
    <dgm:pt modelId="{F4EEFB28-591F-472F-8348-369FE4C7DF11}" type="sibTrans" cxnId="{53122082-47ED-4A69-98DA-EC8BDC6D4535}">
      <dgm:prSet/>
      <dgm:spPr/>
      <dgm:t>
        <a:bodyPr/>
        <a:lstStyle/>
        <a:p>
          <a:endParaRPr lang="de-DE"/>
        </a:p>
      </dgm:t>
    </dgm:pt>
    <dgm:pt modelId="{14471FD4-1881-428C-B92A-E977453A3A3F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Sender-Empfänger Modell – Shannon / Weaver </a:t>
          </a:r>
          <a:r>
            <a:rPr lang="de-DE" sz="1600" i="1" dirty="0">
              <a:solidFill>
                <a:schemeClr val="tx1"/>
              </a:solidFill>
            </a:rPr>
            <a:t>(Popcorn/Pommes)</a:t>
          </a:r>
          <a:endParaRPr lang="de-DE" sz="2000" i="1" dirty="0">
            <a:solidFill>
              <a:schemeClr val="tx1"/>
            </a:solidFill>
          </a:endParaRPr>
        </a:p>
      </dgm:t>
    </dgm:pt>
    <dgm:pt modelId="{59303920-82AA-4494-B82A-717411637533}" type="parTrans" cxnId="{19D061E8-6EC2-469E-BC13-DEA2CAFC2874}">
      <dgm:prSet/>
      <dgm:spPr/>
      <dgm:t>
        <a:bodyPr/>
        <a:lstStyle/>
        <a:p>
          <a:endParaRPr lang="de-DE"/>
        </a:p>
      </dgm:t>
    </dgm:pt>
    <dgm:pt modelId="{F93FB19E-4DE5-4883-B272-4BBB1D8FC72A}" type="sibTrans" cxnId="{19D061E8-6EC2-469E-BC13-DEA2CAFC2874}">
      <dgm:prSet/>
      <dgm:spPr/>
      <dgm:t>
        <a:bodyPr/>
        <a:lstStyle/>
        <a:p>
          <a:endParaRPr lang="de-DE"/>
        </a:p>
      </dgm:t>
    </dgm:pt>
    <dgm:pt modelId="{58D88A49-252F-46F6-9F71-D594650C7502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Kommunikationsquadrat – Schulz von Thun</a:t>
          </a:r>
        </a:p>
      </dgm:t>
    </dgm:pt>
    <dgm:pt modelId="{49968151-1CD8-4621-9B48-CFBA29520869}" type="parTrans" cxnId="{5C8EF731-B0A2-4F89-AF88-9E838D6BC81B}">
      <dgm:prSet/>
      <dgm:spPr/>
      <dgm:t>
        <a:bodyPr/>
        <a:lstStyle/>
        <a:p>
          <a:endParaRPr lang="de-DE"/>
        </a:p>
      </dgm:t>
    </dgm:pt>
    <dgm:pt modelId="{0C618E62-526C-4307-B53E-059829731901}" type="sibTrans" cxnId="{5C8EF731-B0A2-4F89-AF88-9E838D6BC81B}">
      <dgm:prSet/>
      <dgm:spPr/>
      <dgm:t>
        <a:bodyPr/>
        <a:lstStyle/>
        <a:p>
          <a:endParaRPr lang="de-DE"/>
        </a:p>
      </dgm:t>
    </dgm:pt>
    <dgm:pt modelId="{ABB649EF-8E43-463F-867D-2D366C13CEE2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Johari-Fenster</a:t>
          </a:r>
        </a:p>
        <a:p>
          <a:r>
            <a:rPr lang="de-DE" sz="1600" i="1" dirty="0">
              <a:solidFill>
                <a:schemeClr val="tx1"/>
              </a:solidFill>
            </a:rPr>
            <a:t>(Apfel/Kirsch)</a:t>
          </a:r>
        </a:p>
      </dgm:t>
    </dgm:pt>
    <dgm:pt modelId="{895F95F1-81B7-4F67-A234-FA61A63E7447}" type="parTrans" cxnId="{2D5E4D77-977D-4F56-8B22-D21249BAF1C7}">
      <dgm:prSet/>
      <dgm:spPr/>
      <dgm:t>
        <a:bodyPr/>
        <a:lstStyle/>
        <a:p>
          <a:endParaRPr lang="de-DE"/>
        </a:p>
      </dgm:t>
    </dgm:pt>
    <dgm:pt modelId="{E16FED89-48DF-40F1-AEFA-1194C40383EF}" type="sibTrans" cxnId="{2D5E4D77-977D-4F56-8B22-D21249BAF1C7}">
      <dgm:prSet/>
      <dgm:spPr/>
      <dgm:t>
        <a:bodyPr/>
        <a:lstStyle/>
        <a:p>
          <a:endParaRPr lang="de-DE"/>
        </a:p>
      </dgm:t>
    </dgm:pt>
    <dgm:pt modelId="{539379D1-B1EA-43D5-B3E1-C6A1B188F144}" type="pres">
      <dgm:prSet presAssocID="{4C5FF32D-9E13-44AC-B7A8-D297265C7314}" presName="linearFlow" presStyleCnt="0">
        <dgm:presLayoutVars>
          <dgm:dir/>
          <dgm:resizeHandles val="exact"/>
        </dgm:presLayoutVars>
      </dgm:prSet>
      <dgm:spPr/>
    </dgm:pt>
    <dgm:pt modelId="{62C5BE28-71D6-40F6-AB2F-F2DD36BA8690}" type="pres">
      <dgm:prSet presAssocID="{2FD1A198-0004-4918-998A-036421F41CAD}" presName="composite" presStyleCnt="0"/>
      <dgm:spPr/>
    </dgm:pt>
    <dgm:pt modelId="{342FFB2F-595A-4F0B-AC66-FC6AC811DFA1}" type="pres">
      <dgm:prSet presAssocID="{2FD1A198-0004-4918-998A-036421F41CAD}" presName="imgShp" presStyleLbl="fgImgPlace1" presStyleIdx="0" presStyleCnt="5"/>
      <dgm:spPr>
        <a:blipFill rotWithShape="1">
          <a:blip xmlns:r="http://schemas.openxmlformats.org/officeDocument/2006/relationships" r:embed="rId1"/>
          <a:srcRect/>
          <a:stretch>
            <a:fillRect l="-7000" r="-7000"/>
          </a:stretch>
        </a:blipFill>
      </dgm:spPr>
    </dgm:pt>
    <dgm:pt modelId="{568C051B-AB63-403F-A160-E61478D66FCE}" type="pres">
      <dgm:prSet presAssocID="{2FD1A198-0004-4918-998A-036421F41CAD}" presName="txShp" presStyleLbl="node1" presStyleIdx="0" presStyleCnt="5">
        <dgm:presLayoutVars>
          <dgm:bulletEnabled val="1"/>
        </dgm:presLayoutVars>
      </dgm:prSet>
      <dgm:spPr/>
    </dgm:pt>
    <dgm:pt modelId="{7660D7C9-1C65-4C19-8AA5-7879F602F17E}" type="pres">
      <dgm:prSet presAssocID="{E6B2070B-2840-4443-BB5B-1FF17355897F}" presName="spacing" presStyleCnt="0"/>
      <dgm:spPr/>
    </dgm:pt>
    <dgm:pt modelId="{1F5EF59E-D725-4D37-9CC5-36144A508253}" type="pres">
      <dgm:prSet presAssocID="{91B91616-FE54-48F8-8DC0-71EE4A191010}" presName="composite" presStyleCnt="0"/>
      <dgm:spPr/>
    </dgm:pt>
    <dgm:pt modelId="{C03741AC-B658-4ECD-AA0E-629FCD2C1027}" type="pres">
      <dgm:prSet presAssocID="{91B91616-FE54-48F8-8DC0-71EE4A191010}" presName="imgShp" presStyleLbl="fgImgPlace1" presStyleIdx="1" presStyleCnt="5"/>
      <dgm:spPr>
        <a:blipFill rotWithShape="1">
          <a:blip xmlns:r="http://schemas.openxmlformats.org/officeDocument/2006/relationships" r:embed="rId2"/>
          <a:srcRect/>
          <a:stretch>
            <a:fillRect l="-15000" r="-15000"/>
          </a:stretch>
        </a:blipFill>
      </dgm:spPr>
    </dgm:pt>
    <dgm:pt modelId="{12F6337D-546F-4971-8C93-B583E0A9F3A4}" type="pres">
      <dgm:prSet presAssocID="{91B91616-FE54-48F8-8DC0-71EE4A191010}" presName="txShp" presStyleLbl="node1" presStyleIdx="1" presStyleCnt="5">
        <dgm:presLayoutVars>
          <dgm:bulletEnabled val="1"/>
        </dgm:presLayoutVars>
      </dgm:prSet>
      <dgm:spPr/>
    </dgm:pt>
    <dgm:pt modelId="{C71CC4CF-2A87-466F-952B-828EE56C4EB8}" type="pres">
      <dgm:prSet presAssocID="{F4EEFB28-591F-472F-8348-369FE4C7DF11}" presName="spacing" presStyleCnt="0"/>
      <dgm:spPr/>
    </dgm:pt>
    <dgm:pt modelId="{51A89686-6B37-4696-AD11-AC2AEA0F63D3}" type="pres">
      <dgm:prSet presAssocID="{14471FD4-1881-428C-B92A-E977453A3A3F}" presName="composite" presStyleCnt="0"/>
      <dgm:spPr/>
    </dgm:pt>
    <dgm:pt modelId="{09A1625C-073A-456C-9780-040B80F1829B}" type="pres">
      <dgm:prSet presAssocID="{14471FD4-1881-428C-B92A-E977453A3A3F}" presName="imgShp" presStyleLbl="fgImgPlace1" presStyleIdx="2" presStyleCnt="5"/>
      <dgm:spPr>
        <a:blipFill rotWithShape="1">
          <a:blip xmlns:r="http://schemas.openxmlformats.org/officeDocument/2006/relationships" r:embed="rId3"/>
          <a:srcRect/>
          <a:stretch>
            <a:fillRect t="-17000" b="-17000"/>
          </a:stretch>
        </a:blipFill>
      </dgm:spPr>
    </dgm:pt>
    <dgm:pt modelId="{A7B95053-951C-4BD5-9FAA-ABFB64730EA0}" type="pres">
      <dgm:prSet presAssocID="{14471FD4-1881-428C-B92A-E977453A3A3F}" presName="txShp" presStyleLbl="node1" presStyleIdx="2" presStyleCnt="5">
        <dgm:presLayoutVars>
          <dgm:bulletEnabled val="1"/>
        </dgm:presLayoutVars>
      </dgm:prSet>
      <dgm:spPr/>
    </dgm:pt>
    <dgm:pt modelId="{61B01022-D73B-42D6-96A7-1F164298702E}" type="pres">
      <dgm:prSet presAssocID="{F93FB19E-4DE5-4883-B272-4BBB1D8FC72A}" presName="spacing" presStyleCnt="0"/>
      <dgm:spPr/>
    </dgm:pt>
    <dgm:pt modelId="{6F6B6271-71DF-4770-80D7-E8F0F7FDDC76}" type="pres">
      <dgm:prSet presAssocID="{58D88A49-252F-46F6-9F71-D594650C7502}" presName="composite" presStyleCnt="0"/>
      <dgm:spPr/>
    </dgm:pt>
    <dgm:pt modelId="{DBC4E264-41E5-4007-9DD5-B777847AC49E}" type="pres">
      <dgm:prSet presAssocID="{58D88A49-252F-46F6-9F71-D594650C7502}" presName="imgShp" presStyleLbl="fgImgPlace1" presStyleIdx="3" presStyleCnt="5"/>
      <dgm:spPr>
        <a:blipFill rotWithShape="1">
          <a:blip xmlns:r="http://schemas.openxmlformats.org/officeDocument/2006/relationships" r:embed="rId4"/>
          <a:srcRect/>
          <a:stretch>
            <a:fillRect l="-7000" r="-7000"/>
          </a:stretch>
        </a:blipFill>
      </dgm:spPr>
    </dgm:pt>
    <dgm:pt modelId="{1BF313D2-F1CA-417E-9B60-BE178D9D79AD}" type="pres">
      <dgm:prSet presAssocID="{58D88A49-252F-46F6-9F71-D594650C7502}" presName="txShp" presStyleLbl="node1" presStyleIdx="3" presStyleCnt="5">
        <dgm:presLayoutVars>
          <dgm:bulletEnabled val="1"/>
        </dgm:presLayoutVars>
      </dgm:prSet>
      <dgm:spPr/>
    </dgm:pt>
    <dgm:pt modelId="{CA39F166-AF59-4996-B5E3-22197C3B5AD6}" type="pres">
      <dgm:prSet presAssocID="{0C618E62-526C-4307-B53E-059829731901}" presName="spacing" presStyleCnt="0"/>
      <dgm:spPr/>
    </dgm:pt>
    <dgm:pt modelId="{00D49C36-359D-4180-A751-0851EA5A3A4F}" type="pres">
      <dgm:prSet presAssocID="{ABB649EF-8E43-463F-867D-2D366C13CEE2}" presName="composite" presStyleCnt="0"/>
      <dgm:spPr/>
    </dgm:pt>
    <dgm:pt modelId="{3F80364F-CD31-455E-A0D9-69C1799F3BFE}" type="pres">
      <dgm:prSet presAssocID="{ABB649EF-8E43-463F-867D-2D366C13CEE2}" presName="imgShp" presStyleLbl="fgImgPlace1" presStyleIdx="4" presStyleCnt="5"/>
      <dgm:spPr>
        <a:blipFill rotWithShape="1">
          <a:blip xmlns:r="http://schemas.openxmlformats.org/officeDocument/2006/relationships" r:embed="rId5"/>
          <a:srcRect/>
          <a:stretch>
            <a:fillRect/>
          </a:stretch>
        </a:blipFill>
      </dgm:spPr>
    </dgm:pt>
    <dgm:pt modelId="{C5603483-8CA9-4929-979A-6AD6E8DF67A5}" type="pres">
      <dgm:prSet presAssocID="{ABB649EF-8E43-463F-867D-2D366C13CEE2}" presName="txShp" presStyleLbl="node1" presStyleIdx="4" presStyleCnt="5">
        <dgm:presLayoutVars>
          <dgm:bulletEnabled val="1"/>
        </dgm:presLayoutVars>
      </dgm:prSet>
      <dgm:spPr/>
    </dgm:pt>
  </dgm:ptLst>
  <dgm:cxnLst>
    <dgm:cxn modelId="{88D5CA04-F0D1-4581-A8FD-DE44D4719DA1}" type="presOf" srcId="{91B91616-FE54-48F8-8DC0-71EE4A191010}" destId="{12F6337D-546F-4971-8C93-B583E0A9F3A4}" srcOrd="0" destOrd="0" presId="urn:microsoft.com/office/officeart/2005/8/layout/vList3"/>
    <dgm:cxn modelId="{5FB00529-CB53-4CF5-AFA1-0260ABDA6358}" type="presOf" srcId="{58D88A49-252F-46F6-9F71-D594650C7502}" destId="{1BF313D2-F1CA-417E-9B60-BE178D9D79AD}" srcOrd="0" destOrd="0" presId="urn:microsoft.com/office/officeart/2005/8/layout/vList3"/>
    <dgm:cxn modelId="{5C8EF731-B0A2-4F89-AF88-9E838D6BC81B}" srcId="{4C5FF32D-9E13-44AC-B7A8-D297265C7314}" destId="{58D88A49-252F-46F6-9F71-D594650C7502}" srcOrd="3" destOrd="0" parTransId="{49968151-1CD8-4621-9B48-CFBA29520869}" sibTransId="{0C618E62-526C-4307-B53E-059829731901}"/>
    <dgm:cxn modelId="{8EA0E251-5E19-4E60-BC49-69160EB5AC24}" type="presOf" srcId="{14471FD4-1881-428C-B92A-E977453A3A3F}" destId="{A7B95053-951C-4BD5-9FAA-ABFB64730EA0}" srcOrd="0" destOrd="0" presId="urn:microsoft.com/office/officeart/2005/8/layout/vList3"/>
    <dgm:cxn modelId="{2D5E4D77-977D-4F56-8B22-D21249BAF1C7}" srcId="{4C5FF32D-9E13-44AC-B7A8-D297265C7314}" destId="{ABB649EF-8E43-463F-867D-2D366C13CEE2}" srcOrd="4" destOrd="0" parTransId="{895F95F1-81B7-4F67-A234-FA61A63E7447}" sibTransId="{E16FED89-48DF-40F1-AEFA-1194C40383EF}"/>
    <dgm:cxn modelId="{3AFE0B7C-BFC8-48C8-8FB5-39D10FF2DF6D}" type="presOf" srcId="{4C5FF32D-9E13-44AC-B7A8-D297265C7314}" destId="{539379D1-B1EA-43D5-B3E1-C6A1B188F144}" srcOrd="0" destOrd="0" presId="urn:microsoft.com/office/officeart/2005/8/layout/vList3"/>
    <dgm:cxn modelId="{53122082-47ED-4A69-98DA-EC8BDC6D4535}" srcId="{4C5FF32D-9E13-44AC-B7A8-D297265C7314}" destId="{91B91616-FE54-48F8-8DC0-71EE4A191010}" srcOrd="1" destOrd="0" parTransId="{6A7C06D3-6FBD-4127-9F20-8249EFC4FBDA}" sibTransId="{F4EEFB28-591F-472F-8348-369FE4C7DF11}"/>
    <dgm:cxn modelId="{30DD3586-E81F-480A-B52B-4F8DDF09837F}" type="presOf" srcId="{ABB649EF-8E43-463F-867D-2D366C13CEE2}" destId="{C5603483-8CA9-4929-979A-6AD6E8DF67A5}" srcOrd="0" destOrd="0" presId="urn:microsoft.com/office/officeart/2005/8/layout/vList3"/>
    <dgm:cxn modelId="{C7358BBD-04E0-4038-9D22-26A432C23BDE}" srcId="{4C5FF32D-9E13-44AC-B7A8-D297265C7314}" destId="{2FD1A198-0004-4918-998A-036421F41CAD}" srcOrd="0" destOrd="0" parTransId="{F42AA4BA-B461-4E0A-A143-1003D0B17AD0}" sibTransId="{E6B2070B-2840-4443-BB5B-1FF17355897F}"/>
    <dgm:cxn modelId="{FF7A3CE4-B278-45C8-9DB8-F5C72253E897}" type="presOf" srcId="{2FD1A198-0004-4918-998A-036421F41CAD}" destId="{568C051B-AB63-403F-A160-E61478D66FCE}" srcOrd="0" destOrd="0" presId="urn:microsoft.com/office/officeart/2005/8/layout/vList3"/>
    <dgm:cxn modelId="{19D061E8-6EC2-469E-BC13-DEA2CAFC2874}" srcId="{4C5FF32D-9E13-44AC-B7A8-D297265C7314}" destId="{14471FD4-1881-428C-B92A-E977453A3A3F}" srcOrd="2" destOrd="0" parTransId="{59303920-82AA-4494-B82A-717411637533}" sibTransId="{F93FB19E-4DE5-4883-B272-4BBB1D8FC72A}"/>
    <dgm:cxn modelId="{6C72F280-8354-441A-A052-21F1BE40308A}" type="presParOf" srcId="{539379D1-B1EA-43D5-B3E1-C6A1B188F144}" destId="{62C5BE28-71D6-40F6-AB2F-F2DD36BA8690}" srcOrd="0" destOrd="0" presId="urn:microsoft.com/office/officeart/2005/8/layout/vList3"/>
    <dgm:cxn modelId="{CBE9556E-2D52-4BC4-9EE5-401B340C155C}" type="presParOf" srcId="{62C5BE28-71D6-40F6-AB2F-F2DD36BA8690}" destId="{342FFB2F-595A-4F0B-AC66-FC6AC811DFA1}" srcOrd="0" destOrd="0" presId="urn:microsoft.com/office/officeart/2005/8/layout/vList3"/>
    <dgm:cxn modelId="{B3F0C3A2-675C-47F6-B09F-C60B53F69939}" type="presParOf" srcId="{62C5BE28-71D6-40F6-AB2F-F2DD36BA8690}" destId="{568C051B-AB63-403F-A160-E61478D66FCE}" srcOrd="1" destOrd="0" presId="urn:microsoft.com/office/officeart/2005/8/layout/vList3"/>
    <dgm:cxn modelId="{71762421-C4E8-4AAD-8321-9C3390896FEC}" type="presParOf" srcId="{539379D1-B1EA-43D5-B3E1-C6A1B188F144}" destId="{7660D7C9-1C65-4C19-8AA5-7879F602F17E}" srcOrd="1" destOrd="0" presId="urn:microsoft.com/office/officeart/2005/8/layout/vList3"/>
    <dgm:cxn modelId="{9177BB26-1B32-4825-933A-5FCA23153ACE}" type="presParOf" srcId="{539379D1-B1EA-43D5-B3E1-C6A1B188F144}" destId="{1F5EF59E-D725-4D37-9CC5-36144A508253}" srcOrd="2" destOrd="0" presId="urn:microsoft.com/office/officeart/2005/8/layout/vList3"/>
    <dgm:cxn modelId="{6FB27604-D329-40D3-A698-024935D7774D}" type="presParOf" srcId="{1F5EF59E-D725-4D37-9CC5-36144A508253}" destId="{C03741AC-B658-4ECD-AA0E-629FCD2C1027}" srcOrd="0" destOrd="0" presId="urn:microsoft.com/office/officeart/2005/8/layout/vList3"/>
    <dgm:cxn modelId="{DA03C518-3EE3-400C-81B5-D880AD9D11B7}" type="presParOf" srcId="{1F5EF59E-D725-4D37-9CC5-36144A508253}" destId="{12F6337D-546F-4971-8C93-B583E0A9F3A4}" srcOrd="1" destOrd="0" presId="urn:microsoft.com/office/officeart/2005/8/layout/vList3"/>
    <dgm:cxn modelId="{027F844B-94FC-4CD9-BBDD-813877C402E1}" type="presParOf" srcId="{539379D1-B1EA-43D5-B3E1-C6A1B188F144}" destId="{C71CC4CF-2A87-466F-952B-828EE56C4EB8}" srcOrd="3" destOrd="0" presId="urn:microsoft.com/office/officeart/2005/8/layout/vList3"/>
    <dgm:cxn modelId="{666BD028-FF80-4259-8938-45430CF47956}" type="presParOf" srcId="{539379D1-B1EA-43D5-B3E1-C6A1B188F144}" destId="{51A89686-6B37-4696-AD11-AC2AEA0F63D3}" srcOrd="4" destOrd="0" presId="urn:microsoft.com/office/officeart/2005/8/layout/vList3"/>
    <dgm:cxn modelId="{792F339B-F2D8-43E4-B7CE-FB375D1964C9}" type="presParOf" srcId="{51A89686-6B37-4696-AD11-AC2AEA0F63D3}" destId="{09A1625C-073A-456C-9780-040B80F1829B}" srcOrd="0" destOrd="0" presId="urn:microsoft.com/office/officeart/2005/8/layout/vList3"/>
    <dgm:cxn modelId="{CD8CB430-2C1F-4F4A-B937-CBB9E1B6BE31}" type="presParOf" srcId="{51A89686-6B37-4696-AD11-AC2AEA0F63D3}" destId="{A7B95053-951C-4BD5-9FAA-ABFB64730EA0}" srcOrd="1" destOrd="0" presId="urn:microsoft.com/office/officeart/2005/8/layout/vList3"/>
    <dgm:cxn modelId="{69EC4235-DA98-47F7-971B-9755F09B8BE0}" type="presParOf" srcId="{539379D1-B1EA-43D5-B3E1-C6A1B188F144}" destId="{61B01022-D73B-42D6-96A7-1F164298702E}" srcOrd="5" destOrd="0" presId="urn:microsoft.com/office/officeart/2005/8/layout/vList3"/>
    <dgm:cxn modelId="{07FFA139-CDD2-474F-A9B3-F845D5086F97}" type="presParOf" srcId="{539379D1-B1EA-43D5-B3E1-C6A1B188F144}" destId="{6F6B6271-71DF-4770-80D7-E8F0F7FDDC76}" srcOrd="6" destOrd="0" presId="urn:microsoft.com/office/officeart/2005/8/layout/vList3"/>
    <dgm:cxn modelId="{3E35B61C-44FD-4606-B35E-9B8AE4F99ECE}" type="presParOf" srcId="{6F6B6271-71DF-4770-80D7-E8F0F7FDDC76}" destId="{DBC4E264-41E5-4007-9DD5-B777847AC49E}" srcOrd="0" destOrd="0" presId="urn:microsoft.com/office/officeart/2005/8/layout/vList3"/>
    <dgm:cxn modelId="{2647112C-CAC2-4AFC-AD43-F2E2AEB89FFA}" type="presParOf" srcId="{6F6B6271-71DF-4770-80D7-E8F0F7FDDC76}" destId="{1BF313D2-F1CA-417E-9B60-BE178D9D79AD}" srcOrd="1" destOrd="0" presId="urn:microsoft.com/office/officeart/2005/8/layout/vList3"/>
    <dgm:cxn modelId="{1953F0AB-0388-4D36-A83B-CE80C6C4B7BA}" type="presParOf" srcId="{539379D1-B1EA-43D5-B3E1-C6A1B188F144}" destId="{CA39F166-AF59-4996-B5E3-22197C3B5AD6}" srcOrd="7" destOrd="0" presId="urn:microsoft.com/office/officeart/2005/8/layout/vList3"/>
    <dgm:cxn modelId="{E9CACE46-0876-4ECC-B469-C885F18B83FF}" type="presParOf" srcId="{539379D1-B1EA-43D5-B3E1-C6A1B188F144}" destId="{00D49C36-359D-4180-A751-0851EA5A3A4F}" srcOrd="8" destOrd="0" presId="urn:microsoft.com/office/officeart/2005/8/layout/vList3"/>
    <dgm:cxn modelId="{47D13850-AEAE-4EDF-A4DC-FD4152E648F7}" type="presParOf" srcId="{00D49C36-359D-4180-A751-0851EA5A3A4F}" destId="{3F80364F-CD31-455E-A0D9-69C1799F3BFE}" srcOrd="0" destOrd="0" presId="urn:microsoft.com/office/officeart/2005/8/layout/vList3"/>
    <dgm:cxn modelId="{0570A124-A834-403C-AE39-44E08B657373}" type="presParOf" srcId="{00D49C36-359D-4180-A751-0851EA5A3A4F}" destId="{C5603483-8CA9-4929-979A-6AD6E8DF67A5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4C5FF32D-9E13-44AC-B7A8-D297265C7314}" type="doc">
      <dgm:prSet loTypeId="urn:microsoft.com/office/officeart/2005/8/layout/vList3" loCatId="pictur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2FD1A198-0004-4918-998A-036421F41CAD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Aktives Zuhören</a:t>
          </a:r>
        </a:p>
      </dgm:t>
    </dgm:pt>
    <dgm:pt modelId="{F42AA4BA-B461-4E0A-A143-1003D0B17AD0}" type="parTrans" cxnId="{C7358BBD-04E0-4038-9D22-26A432C23BDE}">
      <dgm:prSet/>
      <dgm:spPr/>
      <dgm:t>
        <a:bodyPr/>
        <a:lstStyle/>
        <a:p>
          <a:endParaRPr lang="de-DE"/>
        </a:p>
      </dgm:t>
    </dgm:pt>
    <dgm:pt modelId="{E6B2070B-2840-4443-BB5B-1FF17355897F}" type="sibTrans" cxnId="{C7358BBD-04E0-4038-9D22-26A432C23BDE}">
      <dgm:prSet/>
      <dgm:spPr/>
      <dgm:t>
        <a:bodyPr/>
        <a:lstStyle/>
        <a:p>
          <a:endParaRPr lang="de-DE"/>
        </a:p>
      </dgm:t>
    </dgm:pt>
    <dgm:pt modelId="{91B91616-FE54-48F8-8DC0-71EE4A191010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5 Axiome nach </a:t>
          </a:r>
          <a:r>
            <a:rPr lang="de-DE" sz="2000" dirty="0" err="1">
              <a:solidFill>
                <a:schemeClr val="tx1"/>
              </a:solidFill>
            </a:rPr>
            <a:t>Watzlawik</a:t>
          </a:r>
          <a:endParaRPr lang="de-DE" sz="2000" dirty="0">
            <a:solidFill>
              <a:schemeClr val="tx1"/>
            </a:solidFill>
          </a:endParaRPr>
        </a:p>
      </dgm:t>
    </dgm:pt>
    <dgm:pt modelId="{6A7C06D3-6FBD-4127-9F20-8249EFC4FBDA}" type="parTrans" cxnId="{53122082-47ED-4A69-98DA-EC8BDC6D4535}">
      <dgm:prSet/>
      <dgm:spPr/>
      <dgm:t>
        <a:bodyPr/>
        <a:lstStyle/>
        <a:p>
          <a:endParaRPr lang="de-DE"/>
        </a:p>
      </dgm:t>
    </dgm:pt>
    <dgm:pt modelId="{F4EEFB28-591F-472F-8348-369FE4C7DF11}" type="sibTrans" cxnId="{53122082-47ED-4A69-98DA-EC8BDC6D4535}">
      <dgm:prSet/>
      <dgm:spPr/>
      <dgm:t>
        <a:bodyPr/>
        <a:lstStyle/>
        <a:p>
          <a:endParaRPr lang="de-DE"/>
        </a:p>
      </dgm:t>
    </dgm:pt>
    <dgm:pt modelId="{14471FD4-1881-428C-B92A-E977453A3A3F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Sender-Empfänger Modell – Shannon / Weaver</a:t>
          </a:r>
        </a:p>
      </dgm:t>
    </dgm:pt>
    <dgm:pt modelId="{59303920-82AA-4494-B82A-717411637533}" type="parTrans" cxnId="{19D061E8-6EC2-469E-BC13-DEA2CAFC2874}">
      <dgm:prSet/>
      <dgm:spPr/>
      <dgm:t>
        <a:bodyPr/>
        <a:lstStyle/>
        <a:p>
          <a:endParaRPr lang="de-DE"/>
        </a:p>
      </dgm:t>
    </dgm:pt>
    <dgm:pt modelId="{F93FB19E-4DE5-4883-B272-4BBB1D8FC72A}" type="sibTrans" cxnId="{19D061E8-6EC2-469E-BC13-DEA2CAFC2874}">
      <dgm:prSet/>
      <dgm:spPr/>
      <dgm:t>
        <a:bodyPr/>
        <a:lstStyle/>
        <a:p>
          <a:endParaRPr lang="de-DE"/>
        </a:p>
      </dgm:t>
    </dgm:pt>
    <dgm:pt modelId="{58D88A49-252F-46F6-9F71-D594650C7502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Kommunikationsquadrat – Schulz von Thun</a:t>
          </a:r>
        </a:p>
      </dgm:t>
    </dgm:pt>
    <dgm:pt modelId="{49968151-1CD8-4621-9B48-CFBA29520869}" type="parTrans" cxnId="{5C8EF731-B0A2-4F89-AF88-9E838D6BC81B}">
      <dgm:prSet/>
      <dgm:spPr/>
      <dgm:t>
        <a:bodyPr/>
        <a:lstStyle/>
        <a:p>
          <a:endParaRPr lang="de-DE"/>
        </a:p>
      </dgm:t>
    </dgm:pt>
    <dgm:pt modelId="{0C618E62-526C-4307-B53E-059829731901}" type="sibTrans" cxnId="{5C8EF731-B0A2-4F89-AF88-9E838D6BC81B}">
      <dgm:prSet/>
      <dgm:spPr/>
      <dgm:t>
        <a:bodyPr/>
        <a:lstStyle/>
        <a:p>
          <a:endParaRPr lang="de-DE"/>
        </a:p>
      </dgm:t>
    </dgm:pt>
    <dgm:pt modelId="{ABB649EF-8E43-463F-867D-2D366C13CEE2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Johari-Fenster</a:t>
          </a:r>
        </a:p>
      </dgm:t>
    </dgm:pt>
    <dgm:pt modelId="{895F95F1-81B7-4F67-A234-FA61A63E7447}" type="parTrans" cxnId="{2D5E4D77-977D-4F56-8B22-D21249BAF1C7}">
      <dgm:prSet/>
      <dgm:spPr/>
      <dgm:t>
        <a:bodyPr/>
        <a:lstStyle/>
        <a:p>
          <a:endParaRPr lang="de-DE"/>
        </a:p>
      </dgm:t>
    </dgm:pt>
    <dgm:pt modelId="{E16FED89-48DF-40F1-AEFA-1194C40383EF}" type="sibTrans" cxnId="{2D5E4D77-977D-4F56-8B22-D21249BAF1C7}">
      <dgm:prSet/>
      <dgm:spPr/>
      <dgm:t>
        <a:bodyPr/>
        <a:lstStyle/>
        <a:p>
          <a:endParaRPr lang="de-DE"/>
        </a:p>
      </dgm:t>
    </dgm:pt>
    <dgm:pt modelId="{539379D1-B1EA-43D5-B3E1-C6A1B188F144}" type="pres">
      <dgm:prSet presAssocID="{4C5FF32D-9E13-44AC-B7A8-D297265C7314}" presName="linearFlow" presStyleCnt="0">
        <dgm:presLayoutVars>
          <dgm:dir/>
          <dgm:resizeHandles val="exact"/>
        </dgm:presLayoutVars>
      </dgm:prSet>
      <dgm:spPr/>
    </dgm:pt>
    <dgm:pt modelId="{62C5BE28-71D6-40F6-AB2F-F2DD36BA8690}" type="pres">
      <dgm:prSet presAssocID="{2FD1A198-0004-4918-998A-036421F41CAD}" presName="composite" presStyleCnt="0"/>
      <dgm:spPr/>
    </dgm:pt>
    <dgm:pt modelId="{342FFB2F-595A-4F0B-AC66-FC6AC811DFA1}" type="pres">
      <dgm:prSet presAssocID="{2FD1A198-0004-4918-998A-036421F41CAD}" presName="imgShp" presStyleLbl="fgImgPlace1" presStyleIdx="0" presStyleCnt="5"/>
      <dgm:spPr>
        <a:blipFill rotWithShape="1">
          <a:blip xmlns:r="http://schemas.openxmlformats.org/officeDocument/2006/relationships" r:embed="rId1"/>
          <a:srcRect/>
          <a:stretch>
            <a:fillRect l="-7000" r="-7000"/>
          </a:stretch>
        </a:blipFill>
      </dgm:spPr>
    </dgm:pt>
    <dgm:pt modelId="{568C051B-AB63-403F-A160-E61478D66FCE}" type="pres">
      <dgm:prSet presAssocID="{2FD1A198-0004-4918-998A-036421F41CAD}" presName="txShp" presStyleLbl="node1" presStyleIdx="0" presStyleCnt="5">
        <dgm:presLayoutVars>
          <dgm:bulletEnabled val="1"/>
        </dgm:presLayoutVars>
      </dgm:prSet>
      <dgm:spPr/>
    </dgm:pt>
    <dgm:pt modelId="{7660D7C9-1C65-4C19-8AA5-7879F602F17E}" type="pres">
      <dgm:prSet presAssocID="{E6B2070B-2840-4443-BB5B-1FF17355897F}" presName="spacing" presStyleCnt="0"/>
      <dgm:spPr/>
    </dgm:pt>
    <dgm:pt modelId="{1F5EF59E-D725-4D37-9CC5-36144A508253}" type="pres">
      <dgm:prSet presAssocID="{91B91616-FE54-48F8-8DC0-71EE4A191010}" presName="composite" presStyleCnt="0"/>
      <dgm:spPr/>
    </dgm:pt>
    <dgm:pt modelId="{C03741AC-B658-4ECD-AA0E-629FCD2C1027}" type="pres">
      <dgm:prSet presAssocID="{91B91616-FE54-48F8-8DC0-71EE4A191010}" presName="imgShp" presStyleLbl="fgImgPlace1" presStyleIdx="1" presStyleCnt="5"/>
      <dgm:spPr>
        <a:blipFill rotWithShape="1">
          <a:blip xmlns:r="http://schemas.openxmlformats.org/officeDocument/2006/relationships" r:embed="rId2"/>
          <a:srcRect/>
          <a:stretch>
            <a:fillRect l="-15000" r="-15000"/>
          </a:stretch>
        </a:blipFill>
      </dgm:spPr>
    </dgm:pt>
    <dgm:pt modelId="{12F6337D-546F-4971-8C93-B583E0A9F3A4}" type="pres">
      <dgm:prSet presAssocID="{91B91616-FE54-48F8-8DC0-71EE4A191010}" presName="txShp" presStyleLbl="node1" presStyleIdx="1" presStyleCnt="5">
        <dgm:presLayoutVars>
          <dgm:bulletEnabled val="1"/>
        </dgm:presLayoutVars>
      </dgm:prSet>
      <dgm:spPr/>
    </dgm:pt>
    <dgm:pt modelId="{C71CC4CF-2A87-466F-952B-828EE56C4EB8}" type="pres">
      <dgm:prSet presAssocID="{F4EEFB28-591F-472F-8348-369FE4C7DF11}" presName="spacing" presStyleCnt="0"/>
      <dgm:spPr/>
    </dgm:pt>
    <dgm:pt modelId="{51A89686-6B37-4696-AD11-AC2AEA0F63D3}" type="pres">
      <dgm:prSet presAssocID="{14471FD4-1881-428C-B92A-E977453A3A3F}" presName="composite" presStyleCnt="0"/>
      <dgm:spPr/>
    </dgm:pt>
    <dgm:pt modelId="{09A1625C-073A-456C-9780-040B80F1829B}" type="pres">
      <dgm:prSet presAssocID="{14471FD4-1881-428C-B92A-E977453A3A3F}" presName="imgShp" presStyleLbl="fgImgPlace1" presStyleIdx="2" presStyleCnt="5"/>
      <dgm:spPr>
        <a:blipFill rotWithShape="1">
          <a:blip xmlns:r="http://schemas.openxmlformats.org/officeDocument/2006/relationships" r:embed="rId3"/>
          <a:srcRect/>
          <a:stretch>
            <a:fillRect t="-17000" b="-17000"/>
          </a:stretch>
        </a:blipFill>
      </dgm:spPr>
    </dgm:pt>
    <dgm:pt modelId="{A7B95053-951C-4BD5-9FAA-ABFB64730EA0}" type="pres">
      <dgm:prSet presAssocID="{14471FD4-1881-428C-B92A-E977453A3A3F}" presName="txShp" presStyleLbl="node1" presStyleIdx="2" presStyleCnt="5">
        <dgm:presLayoutVars>
          <dgm:bulletEnabled val="1"/>
        </dgm:presLayoutVars>
      </dgm:prSet>
      <dgm:spPr/>
    </dgm:pt>
    <dgm:pt modelId="{61B01022-D73B-42D6-96A7-1F164298702E}" type="pres">
      <dgm:prSet presAssocID="{F93FB19E-4DE5-4883-B272-4BBB1D8FC72A}" presName="spacing" presStyleCnt="0"/>
      <dgm:spPr/>
    </dgm:pt>
    <dgm:pt modelId="{6F6B6271-71DF-4770-80D7-E8F0F7FDDC76}" type="pres">
      <dgm:prSet presAssocID="{58D88A49-252F-46F6-9F71-D594650C7502}" presName="composite" presStyleCnt="0"/>
      <dgm:spPr/>
    </dgm:pt>
    <dgm:pt modelId="{DBC4E264-41E5-4007-9DD5-B777847AC49E}" type="pres">
      <dgm:prSet presAssocID="{58D88A49-252F-46F6-9F71-D594650C7502}" presName="imgShp" presStyleLbl="fgImgPlace1" presStyleIdx="3" presStyleCnt="5"/>
      <dgm:spPr>
        <a:blipFill rotWithShape="1">
          <a:blip xmlns:r="http://schemas.openxmlformats.org/officeDocument/2006/relationships" r:embed="rId4"/>
          <a:srcRect/>
          <a:stretch>
            <a:fillRect l="-7000" r="-7000"/>
          </a:stretch>
        </a:blipFill>
      </dgm:spPr>
    </dgm:pt>
    <dgm:pt modelId="{1BF313D2-F1CA-417E-9B60-BE178D9D79AD}" type="pres">
      <dgm:prSet presAssocID="{58D88A49-252F-46F6-9F71-D594650C7502}" presName="txShp" presStyleLbl="node1" presStyleIdx="3" presStyleCnt="5">
        <dgm:presLayoutVars>
          <dgm:bulletEnabled val="1"/>
        </dgm:presLayoutVars>
      </dgm:prSet>
      <dgm:spPr/>
    </dgm:pt>
    <dgm:pt modelId="{CA39F166-AF59-4996-B5E3-22197C3B5AD6}" type="pres">
      <dgm:prSet presAssocID="{0C618E62-526C-4307-B53E-059829731901}" presName="spacing" presStyleCnt="0"/>
      <dgm:spPr/>
    </dgm:pt>
    <dgm:pt modelId="{00D49C36-359D-4180-A751-0851EA5A3A4F}" type="pres">
      <dgm:prSet presAssocID="{ABB649EF-8E43-463F-867D-2D366C13CEE2}" presName="composite" presStyleCnt="0"/>
      <dgm:spPr/>
    </dgm:pt>
    <dgm:pt modelId="{3F80364F-CD31-455E-A0D9-69C1799F3BFE}" type="pres">
      <dgm:prSet presAssocID="{ABB649EF-8E43-463F-867D-2D366C13CEE2}" presName="imgShp" presStyleLbl="fgImgPlace1" presStyleIdx="4" presStyleCnt="5"/>
      <dgm:spPr>
        <a:blipFill rotWithShape="1">
          <a:blip xmlns:r="http://schemas.openxmlformats.org/officeDocument/2006/relationships" r:embed="rId5"/>
          <a:srcRect/>
          <a:stretch>
            <a:fillRect/>
          </a:stretch>
        </a:blipFill>
      </dgm:spPr>
    </dgm:pt>
    <dgm:pt modelId="{C5603483-8CA9-4929-979A-6AD6E8DF67A5}" type="pres">
      <dgm:prSet presAssocID="{ABB649EF-8E43-463F-867D-2D366C13CEE2}" presName="txShp" presStyleLbl="node1" presStyleIdx="4" presStyleCnt="5">
        <dgm:presLayoutVars>
          <dgm:bulletEnabled val="1"/>
        </dgm:presLayoutVars>
      </dgm:prSet>
      <dgm:spPr/>
    </dgm:pt>
  </dgm:ptLst>
  <dgm:cxnLst>
    <dgm:cxn modelId="{88D5CA04-F0D1-4581-A8FD-DE44D4719DA1}" type="presOf" srcId="{91B91616-FE54-48F8-8DC0-71EE4A191010}" destId="{12F6337D-546F-4971-8C93-B583E0A9F3A4}" srcOrd="0" destOrd="0" presId="urn:microsoft.com/office/officeart/2005/8/layout/vList3"/>
    <dgm:cxn modelId="{5FB00529-CB53-4CF5-AFA1-0260ABDA6358}" type="presOf" srcId="{58D88A49-252F-46F6-9F71-D594650C7502}" destId="{1BF313D2-F1CA-417E-9B60-BE178D9D79AD}" srcOrd="0" destOrd="0" presId="urn:microsoft.com/office/officeart/2005/8/layout/vList3"/>
    <dgm:cxn modelId="{5C8EF731-B0A2-4F89-AF88-9E838D6BC81B}" srcId="{4C5FF32D-9E13-44AC-B7A8-D297265C7314}" destId="{58D88A49-252F-46F6-9F71-D594650C7502}" srcOrd="3" destOrd="0" parTransId="{49968151-1CD8-4621-9B48-CFBA29520869}" sibTransId="{0C618E62-526C-4307-B53E-059829731901}"/>
    <dgm:cxn modelId="{8EA0E251-5E19-4E60-BC49-69160EB5AC24}" type="presOf" srcId="{14471FD4-1881-428C-B92A-E977453A3A3F}" destId="{A7B95053-951C-4BD5-9FAA-ABFB64730EA0}" srcOrd="0" destOrd="0" presId="urn:microsoft.com/office/officeart/2005/8/layout/vList3"/>
    <dgm:cxn modelId="{2D5E4D77-977D-4F56-8B22-D21249BAF1C7}" srcId="{4C5FF32D-9E13-44AC-B7A8-D297265C7314}" destId="{ABB649EF-8E43-463F-867D-2D366C13CEE2}" srcOrd="4" destOrd="0" parTransId="{895F95F1-81B7-4F67-A234-FA61A63E7447}" sibTransId="{E16FED89-48DF-40F1-AEFA-1194C40383EF}"/>
    <dgm:cxn modelId="{3AFE0B7C-BFC8-48C8-8FB5-39D10FF2DF6D}" type="presOf" srcId="{4C5FF32D-9E13-44AC-B7A8-D297265C7314}" destId="{539379D1-B1EA-43D5-B3E1-C6A1B188F144}" srcOrd="0" destOrd="0" presId="urn:microsoft.com/office/officeart/2005/8/layout/vList3"/>
    <dgm:cxn modelId="{53122082-47ED-4A69-98DA-EC8BDC6D4535}" srcId="{4C5FF32D-9E13-44AC-B7A8-D297265C7314}" destId="{91B91616-FE54-48F8-8DC0-71EE4A191010}" srcOrd="1" destOrd="0" parTransId="{6A7C06D3-6FBD-4127-9F20-8249EFC4FBDA}" sibTransId="{F4EEFB28-591F-472F-8348-369FE4C7DF11}"/>
    <dgm:cxn modelId="{30DD3586-E81F-480A-B52B-4F8DDF09837F}" type="presOf" srcId="{ABB649EF-8E43-463F-867D-2D366C13CEE2}" destId="{C5603483-8CA9-4929-979A-6AD6E8DF67A5}" srcOrd="0" destOrd="0" presId="urn:microsoft.com/office/officeart/2005/8/layout/vList3"/>
    <dgm:cxn modelId="{C7358BBD-04E0-4038-9D22-26A432C23BDE}" srcId="{4C5FF32D-9E13-44AC-B7A8-D297265C7314}" destId="{2FD1A198-0004-4918-998A-036421F41CAD}" srcOrd="0" destOrd="0" parTransId="{F42AA4BA-B461-4E0A-A143-1003D0B17AD0}" sibTransId="{E6B2070B-2840-4443-BB5B-1FF17355897F}"/>
    <dgm:cxn modelId="{FF7A3CE4-B278-45C8-9DB8-F5C72253E897}" type="presOf" srcId="{2FD1A198-0004-4918-998A-036421F41CAD}" destId="{568C051B-AB63-403F-A160-E61478D66FCE}" srcOrd="0" destOrd="0" presId="urn:microsoft.com/office/officeart/2005/8/layout/vList3"/>
    <dgm:cxn modelId="{19D061E8-6EC2-469E-BC13-DEA2CAFC2874}" srcId="{4C5FF32D-9E13-44AC-B7A8-D297265C7314}" destId="{14471FD4-1881-428C-B92A-E977453A3A3F}" srcOrd="2" destOrd="0" parTransId="{59303920-82AA-4494-B82A-717411637533}" sibTransId="{F93FB19E-4DE5-4883-B272-4BBB1D8FC72A}"/>
    <dgm:cxn modelId="{6C72F280-8354-441A-A052-21F1BE40308A}" type="presParOf" srcId="{539379D1-B1EA-43D5-B3E1-C6A1B188F144}" destId="{62C5BE28-71D6-40F6-AB2F-F2DD36BA8690}" srcOrd="0" destOrd="0" presId="urn:microsoft.com/office/officeart/2005/8/layout/vList3"/>
    <dgm:cxn modelId="{CBE9556E-2D52-4BC4-9EE5-401B340C155C}" type="presParOf" srcId="{62C5BE28-71D6-40F6-AB2F-F2DD36BA8690}" destId="{342FFB2F-595A-4F0B-AC66-FC6AC811DFA1}" srcOrd="0" destOrd="0" presId="urn:microsoft.com/office/officeart/2005/8/layout/vList3"/>
    <dgm:cxn modelId="{B3F0C3A2-675C-47F6-B09F-C60B53F69939}" type="presParOf" srcId="{62C5BE28-71D6-40F6-AB2F-F2DD36BA8690}" destId="{568C051B-AB63-403F-A160-E61478D66FCE}" srcOrd="1" destOrd="0" presId="urn:microsoft.com/office/officeart/2005/8/layout/vList3"/>
    <dgm:cxn modelId="{71762421-C4E8-4AAD-8321-9C3390896FEC}" type="presParOf" srcId="{539379D1-B1EA-43D5-B3E1-C6A1B188F144}" destId="{7660D7C9-1C65-4C19-8AA5-7879F602F17E}" srcOrd="1" destOrd="0" presId="urn:microsoft.com/office/officeart/2005/8/layout/vList3"/>
    <dgm:cxn modelId="{9177BB26-1B32-4825-933A-5FCA23153ACE}" type="presParOf" srcId="{539379D1-B1EA-43D5-B3E1-C6A1B188F144}" destId="{1F5EF59E-D725-4D37-9CC5-36144A508253}" srcOrd="2" destOrd="0" presId="urn:microsoft.com/office/officeart/2005/8/layout/vList3"/>
    <dgm:cxn modelId="{6FB27604-D329-40D3-A698-024935D7774D}" type="presParOf" srcId="{1F5EF59E-D725-4D37-9CC5-36144A508253}" destId="{C03741AC-B658-4ECD-AA0E-629FCD2C1027}" srcOrd="0" destOrd="0" presId="urn:microsoft.com/office/officeart/2005/8/layout/vList3"/>
    <dgm:cxn modelId="{DA03C518-3EE3-400C-81B5-D880AD9D11B7}" type="presParOf" srcId="{1F5EF59E-D725-4D37-9CC5-36144A508253}" destId="{12F6337D-546F-4971-8C93-B583E0A9F3A4}" srcOrd="1" destOrd="0" presId="urn:microsoft.com/office/officeart/2005/8/layout/vList3"/>
    <dgm:cxn modelId="{027F844B-94FC-4CD9-BBDD-813877C402E1}" type="presParOf" srcId="{539379D1-B1EA-43D5-B3E1-C6A1B188F144}" destId="{C71CC4CF-2A87-466F-952B-828EE56C4EB8}" srcOrd="3" destOrd="0" presId="urn:microsoft.com/office/officeart/2005/8/layout/vList3"/>
    <dgm:cxn modelId="{666BD028-FF80-4259-8938-45430CF47956}" type="presParOf" srcId="{539379D1-B1EA-43D5-B3E1-C6A1B188F144}" destId="{51A89686-6B37-4696-AD11-AC2AEA0F63D3}" srcOrd="4" destOrd="0" presId="urn:microsoft.com/office/officeart/2005/8/layout/vList3"/>
    <dgm:cxn modelId="{792F339B-F2D8-43E4-B7CE-FB375D1964C9}" type="presParOf" srcId="{51A89686-6B37-4696-AD11-AC2AEA0F63D3}" destId="{09A1625C-073A-456C-9780-040B80F1829B}" srcOrd="0" destOrd="0" presId="urn:microsoft.com/office/officeart/2005/8/layout/vList3"/>
    <dgm:cxn modelId="{CD8CB430-2C1F-4F4A-B937-CBB9E1B6BE31}" type="presParOf" srcId="{51A89686-6B37-4696-AD11-AC2AEA0F63D3}" destId="{A7B95053-951C-4BD5-9FAA-ABFB64730EA0}" srcOrd="1" destOrd="0" presId="urn:microsoft.com/office/officeart/2005/8/layout/vList3"/>
    <dgm:cxn modelId="{69EC4235-DA98-47F7-971B-9755F09B8BE0}" type="presParOf" srcId="{539379D1-B1EA-43D5-B3E1-C6A1B188F144}" destId="{61B01022-D73B-42D6-96A7-1F164298702E}" srcOrd="5" destOrd="0" presId="urn:microsoft.com/office/officeart/2005/8/layout/vList3"/>
    <dgm:cxn modelId="{07FFA139-CDD2-474F-A9B3-F845D5086F97}" type="presParOf" srcId="{539379D1-B1EA-43D5-B3E1-C6A1B188F144}" destId="{6F6B6271-71DF-4770-80D7-E8F0F7FDDC76}" srcOrd="6" destOrd="0" presId="urn:microsoft.com/office/officeart/2005/8/layout/vList3"/>
    <dgm:cxn modelId="{3E35B61C-44FD-4606-B35E-9B8AE4F99ECE}" type="presParOf" srcId="{6F6B6271-71DF-4770-80D7-E8F0F7FDDC76}" destId="{DBC4E264-41E5-4007-9DD5-B777847AC49E}" srcOrd="0" destOrd="0" presId="urn:microsoft.com/office/officeart/2005/8/layout/vList3"/>
    <dgm:cxn modelId="{2647112C-CAC2-4AFC-AD43-F2E2AEB89FFA}" type="presParOf" srcId="{6F6B6271-71DF-4770-80D7-E8F0F7FDDC76}" destId="{1BF313D2-F1CA-417E-9B60-BE178D9D79AD}" srcOrd="1" destOrd="0" presId="urn:microsoft.com/office/officeart/2005/8/layout/vList3"/>
    <dgm:cxn modelId="{1953F0AB-0388-4D36-A83B-CE80C6C4B7BA}" type="presParOf" srcId="{539379D1-B1EA-43D5-B3E1-C6A1B188F144}" destId="{CA39F166-AF59-4996-B5E3-22197C3B5AD6}" srcOrd="7" destOrd="0" presId="urn:microsoft.com/office/officeart/2005/8/layout/vList3"/>
    <dgm:cxn modelId="{E9CACE46-0876-4ECC-B469-C885F18B83FF}" type="presParOf" srcId="{539379D1-B1EA-43D5-B3E1-C6A1B188F144}" destId="{00D49C36-359D-4180-A751-0851EA5A3A4F}" srcOrd="8" destOrd="0" presId="urn:microsoft.com/office/officeart/2005/8/layout/vList3"/>
    <dgm:cxn modelId="{47D13850-AEAE-4EDF-A4DC-FD4152E648F7}" type="presParOf" srcId="{00D49C36-359D-4180-A751-0851EA5A3A4F}" destId="{3F80364F-CD31-455E-A0D9-69C1799F3BFE}" srcOrd="0" destOrd="0" presId="urn:microsoft.com/office/officeart/2005/8/layout/vList3"/>
    <dgm:cxn modelId="{0570A124-A834-403C-AE39-44E08B657373}" type="presParOf" srcId="{00D49C36-359D-4180-A751-0851EA5A3A4F}" destId="{C5603483-8CA9-4929-979A-6AD6E8DF67A5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4C5FF32D-9E13-44AC-B7A8-D297265C7314}" type="doc">
      <dgm:prSet loTypeId="urn:microsoft.com/office/officeart/2005/8/layout/vList3" loCatId="pictur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2FD1A198-0004-4918-998A-036421F41CAD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Aktives Zuhören</a:t>
          </a:r>
        </a:p>
      </dgm:t>
    </dgm:pt>
    <dgm:pt modelId="{F42AA4BA-B461-4E0A-A143-1003D0B17AD0}" type="parTrans" cxnId="{C7358BBD-04E0-4038-9D22-26A432C23BDE}">
      <dgm:prSet/>
      <dgm:spPr/>
      <dgm:t>
        <a:bodyPr/>
        <a:lstStyle/>
        <a:p>
          <a:endParaRPr lang="de-DE"/>
        </a:p>
      </dgm:t>
    </dgm:pt>
    <dgm:pt modelId="{E6B2070B-2840-4443-BB5B-1FF17355897F}" type="sibTrans" cxnId="{C7358BBD-04E0-4038-9D22-26A432C23BDE}">
      <dgm:prSet/>
      <dgm:spPr/>
      <dgm:t>
        <a:bodyPr/>
        <a:lstStyle/>
        <a:p>
          <a:endParaRPr lang="de-DE"/>
        </a:p>
      </dgm:t>
    </dgm:pt>
    <dgm:pt modelId="{91B91616-FE54-48F8-8DC0-71EE4A191010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5 Axiome nach </a:t>
          </a:r>
          <a:r>
            <a:rPr lang="de-DE" sz="2000" dirty="0" err="1">
              <a:solidFill>
                <a:schemeClr val="tx1"/>
              </a:solidFill>
            </a:rPr>
            <a:t>Watzlawik</a:t>
          </a:r>
          <a:endParaRPr lang="de-DE" sz="2000" dirty="0">
            <a:solidFill>
              <a:schemeClr val="tx1"/>
            </a:solidFill>
          </a:endParaRPr>
        </a:p>
      </dgm:t>
    </dgm:pt>
    <dgm:pt modelId="{6A7C06D3-6FBD-4127-9F20-8249EFC4FBDA}" type="parTrans" cxnId="{53122082-47ED-4A69-98DA-EC8BDC6D4535}">
      <dgm:prSet/>
      <dgm:spPr/>
      <dgm:t>
        <a:bodyPr/>
        <a:lstStyle/>
        <a:p>
          <a:endParaRPr lang="de-DE"/>
        </a:p>
      </dgm:t>
    </dgm:pt>
    <dgm:pt modelId="{F4EEFB28-591F-472F-8348-369FE4C7DF11}" type="sibTrans" cxnId="{53122082-47ED-4A69-98DA-EC8BDC6D4535}">
      <dgm:prSet/>
      <dgm:spPr/>
      <dgm:t>
        <a:bodyPr/>
        <a:lstStyle/>
        <a:p>
          <a:endParaRPr lang="de-DE"/>
        </a:p>
      </dgm:t>
    </dgm:pt>
    <dgm:pt modelId="{14471FD4-1881-428C-B92A-E977453A3A3F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Sender-Empfänger Modell – Shannon / Weaver</a:t>
          </a:r>
        </a:p>
      </dgm:t>
    </dgm:pt>
    <dgm:pt modelId="{59303920-82AA-4494-B82A-717411637533}" type="parTrans" cxnId="{19D061E8-6EC2-469E-BC13-DEA2CAFC2874}">
      <dgm:prSet/>
      <dgm:spPr/>
      <dgm:t>
        <a:bodyPr/>
        <a:lstStyle/>
        <a:p>
          <a:endParaRPr lang="de-DE"/>
        </a:p>
      </dgm:t>
    </dgm:pt>
    <dgm:pt modelId="{F93FB19E-4DE5-4883-B272-4BBB1D8FC72A}" type="sibTrans" cxnId="{19D061E8-6EC2-469E-BC13-DEA2CAFC2874}">
      <dgm:prSet/>
      <dgm:spPr/>
      <dgm:t>
        <a:bodyPr/>
        <a:lstStyle/>
        <a:p>
          <a:endParaRPr lang="de-DE"/>
        </a:p>
      </dgm:t>
    </dgm:pt>
    <dgm:pt modelId="{58D88A49-252F-46F6-9F71-D594650C7502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Kommunikationsquadrat – Schulz von Thun</a:t>
          </a:r>
        </a:p>
      </dgm:t>
    </dgm:pt>
    <dgm:pt modelId="{49968151-1CD8-4621-9B48-CFBA29520869}" type="parTrans" cxnId="{5C8EF731-B0A2-4F89-AF88-9E838D6BC81B}">
      <dgm:prSet/>
      <dgm:spPr/>
      <dgm:t>
        <a:bodyPr/>
        <a:lstStyle/>
        <a:p>
          <a:endParaRPr lang="de-DE"/>
        </a:p>
      </dgm:t>
    </dgm:pt>
    <dgm:pt modelId="{0C618E62-526C-4307-B53E-059829731901}" type="sibTrans" cxnId="{5C8EF731-B0A2-4F89-AF88-9E838D6BC81B}">
      <dgm:prSet/>
      <dgm:spPr/>
      <dgm:t>
        <a:bodyPr/>
        <a:lstStyle/>
        <a:p>
          <a:endParaRPr lang="de-DE"/>
        </a:p>
      </dgm:t>
    </dgm:pt>
    <dgm:pt modelId="{ABB649EF-8E43-463F-867D-2D366C13CEE2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Johari-Fenster</a:t>
          </a:r>
        </a:p>
      </dgm:t>
    </dgm:pt>
    <dgm:pt modelId="{895F95F1-81B7-4F67-A234-FA61A63E7447}" type="parTrans" cxnId="{2D5E4D77-977D-4F56-8B22-D21249BAF1C7}">
      <dgm:prSet/>
      <dgm:spPr/>
      <dgm:t>
        <a:bodyPr/>
        <a:lstStyle/>
        <a:p>
          <a:endParaRPr lang="de-DE"/>
        </a:p>
      </dgm:t>
    </dgm:pt>
    <dgm:pt modelId="{E16FED89-48DF-40F1-AEFA-1194C40383EF}" type="sibTrans" cxnId="{2D5E4D77-977D-4F56-8B22-D21249BAF1C7}">
      <dgm:prSet/>
      <dgm:spPr/>
      <dgm:t>
        <a:bodyPr/>
        <a:lstStyle/>
        <a:p>
          <a:endParaRPr lang="de-DE"/>
        </a:p>
      </dgm:t>
    </dgm:pt>
    <dgm:pt modelId="{539379D1-B1EA-43D5-B3E1-C6A1B188F144}" type="pres">
      <dgm:prSet presAssocID="{4C5FF32D-9E13-44AC-B7A8-D297265C7314}" presName="linearFlow" presStyleCnt="0">
        <dgm:presLayoutVars>
          <dgm:dir/>
          <dgm:resizeHandles val="exact"/>
        </dgm:presLayoutVars>
      </dgm:prSet>
      <dgm:spPr/>
    </dgm:pt>
    <dgm:pt modelId="{62C5BE28-71D6-40F6-AB2F-F2DD36BA8690}" type="pres">
      <dgm:prSet presAssocID="{2FD1A198-0004-4918-998A-036421F41CAD}" presName="composite" presStyleCnt="0"/>
      <dgm:spPr/>
    </dgm:pt>
    <dgm:pt modelId="{342FFB2F-595A-4F0B-AC66-FC6AC811DFA1}" type="pres">
      <dgm:prSet presAssocID="{2FD1A198-0004-4918-998A-036421F41CAD}" presName="imgShp" presStyleLbl="fgImgPlace1" presStyleIdx="0" presStyleCnt="5"/>
      <dgm:spPr>
        <a:blipFill rotWithShape="1">
          <a:blip xmlns:r="http://schemas.openxmlformats.org/officeDocument/2006/relationships" r:embed="rId1"/>
          <a:srcRect/>
          <a:stretch>
            <a:fillRect l="-7000" r="-7000"/>
          </a:stretch>
        </a:blipFill>
      </dgm:spPr>
    </dgm:pt>
    <dgm:pt modelId="{568C051B-AB63-403F-A160-E61478D66FCE}" type="pres">
      <dgm:prSet presAssocID="{2FD1A198-0004-4918-998A-036421F41CAD}" presName="txShp" presStyleLbl="node1" presStyleIdx="0" presStyleCnt="5">
        <dgm:presLayoutVars>
          <dgm:bulletEnabled val="1"/>
        </dgm:presLayoutVars>
      </dgm:prSet>
      <dgm:spPr/>
    </dgm:pt>
    <dgm:pt modelId="{7660D7C9-1C65-4C19-8AA5-7879F602F17E}" type="pres">
      <dgm:prSet presAssocID="{E6B2070B-2840-4443-BB5B-1FF17355897F}" presName="spacing" presStyleCnt="0"/>
      <dgm:spPr/>
    </dgm:pt>
    <dgm:pt modelId="{1F5EF59E-D725-4D37-9CC5-36144A508253}" type="pres">
      <dgm:prSet presAssocID="{91B91616-FE54-48F8-8DC0-71EE4A191010}" presName="composite" presStyleCnt="0"/>
      <dgm:spPr/>
    </dgm:pt>
    <dgm:pt modelId="{C03741AC-B658-4ECD-AA0E-629FCD2C1027}" type="pres">
      <dgm:prSet presAssocID="{91B91616-FE54-48F8-8DC0-71EE4A191010}" presName="imgShp" presStyleLbl="fgImgPlace1" presStyleIdx="1" presStyleCnt="5"/>
      <dgm:spPr>
        <a:blipFill rotWithShape="1">
          <a:blip xmlns:r="http://schemas.openxmlformats.org/officeDocument/2006/relationships" r:embed="rId2"/>
          <a:srcRect/>
          <a:stretch>
            <a:fillRect l="-15000" r="-15000"/>
          </a:stretch>
        </a:blipFill>
      </dgm:spPr>
    </dgm:pt>
    <dgm:pt modelId="{12F6337D-546F-4971-8C93-B583E0A9F3A4}" type="pres">
      <dgm:prSet presAssocID="{91B91616-FE54-48F8-8DC0-71EE4A191010}" presName="txShp" presStyleLbl="node1" presStyleIdx="1" presStyleCnt="5">
        <dgm:presLayoutVars>
          <dgm:bulletEnabled val="1"/>
        </dgm:presLayoutVars>
      </dgm:prSet>
      <dgm:spPr/>
    </dgm:pt>
    <dgm:pt modelId="{C71CC4CF-2A87-466F-952B-828EE56C4EB8}" type="pres">
      <dgm:prSet presAssocID="{F4EEFB28-591F-472F-8348-369FE4C7DF11}" presName="spacing" presStyleCnt="0"/>
      <dgm:spPr/>
    </dgm:pt>
    <dgm:pt modelId="{51A89686-6B37-4696-AD11-AC2AEA0F63D3}" type="pres">
      <dgm:prSet presAssocID="{14471FD4-1881-428C-B92A-E977453A3A3F}" presName="composite" presStyleCnt="0"/>
      <dgm:spPr/>
    </dgm:pt>
    <dgm:pt modelId="{09A1625C-073A-456C-9780-040B80F1829B}" type="pres">
      <dgm:prSet presAssocID="{14471FD4-1881-428C-B92A-E977453A3A3F}" presName="imgShp" presStyleLbl="fgImgPlace1" presStyleIdx="2" presStyleCnt="5"/>
      <dgm:spPr>
        <a:blipFill rotWithShape="1">
          <a:blip xmlns:r="http://schemas.openxmlformats.org/officeDocument/2006/relationships" r:embed="rId3"/>
          <a:srcRect/>
          <a:stretch>
            <a:fillRect t="-17000" b="-17000"/>
          </a:stretch>
        </a:blipFill>
      </dgm:spPr>
    </dgm:pt>
    <dgm:pt modelId="{A7B95053-951C-4BD5-9FAA-ABFB64730EA0}" type="pres">
      <dgm:prSet presAssocID="{14471FD4-1881-428C-B92A-E977453A3A3F}" presName="txShp" presStyleLbl="node1" presStyleIdx="2" presStyleCnt="5">
        <dgm:presLayoutVars>
          <dgm:bulletEnabled val="1"/>
        </dgm:presLayoutVars>
      </dgm:prSet>
      <dgm:spPr/>
    </dgm:pt>
    <dgm:pt modelId="{61B01022-D73B-42D6-96A7-1F164298702E}" type="pres">
      <dgm:prSet presAssocID="{F93FB19E-4DE5-4883-B272-4BBB1D8FC72A}" presName="spacing" presStyleCnt="0"/>
      <dgm:spPr/>
    </dgm:pt>
    <dgm:pt modelId="{6F6B6271-71DF-4770-80D7-E8F0F7FDDC76}" type="pres">
      <dgm:prSet presAssocID="{58D88A49-252F-46F6-9F71-D594650C7502}" presName="composite" presStyleCnt="0"/>
      <dgm:spPr/>
    </dgm:pt>
    <dgm:pt modelId="{DBC4E264-41E5-4007-9DD5-B777847AC49E}" type="pres">
      <dgm:prSet presAssocID="{58D88A49-252F-46F6-9F71-D594650C7502}" presName="imgShp" presStyleLbl="fgImgPlace1" presStyleIdx="3" presStyleCnt="5"/>
      <dgm:spPr>
        <a:blipFill rotWithShape="1">
          <a:blip xmlns:r="http://schemas.openxmlformats.org/officeDocument/2006/relationships" r:embed="rId4"/>
          <a:srcRect/>
          <a:stretch>
            <a:fillRect l="-7000" r="-7000"/>
          </a:stretch>
        </a:blipFill>
      </dgm:spPr>
    </dgm:pt>
    <dgm:pt modelId="{1BF313D2-F1CA-417E-9B60-BE178D9D79AD}" type="pres">
      <dgm:prSet presAssocID="{58D88A49-252F-46F6-9F71-D594650C7502}" presName="txShp" presStyleLbl="node1" presStyleIdx="3" presStyleCnt="5">
        <dgm:presLayoutVars>
          <dgm:bulletEnabled val="1"/>
        </dgm:presLayoutVars>
      </dgm:prSet>
      <dgm:spPr/>
    </dgm:pt>
    <dgm:pt modelId="{CA39F166-AF59-4996-B5E3-22197C3B5AD6}" type="pres">
      <dgm:prSet presAssocID="{0C618E62-526C-4307-B53E-059829731901}" presName="spacing" presStyleCnt="0"/>
      <dgm:spPr/>
    </dgm:pt>
    <dgm:pt modelId="{00D49C36-359D-4180-A751-0851EA5A3A4F}" type="pres">
      <dgm:prSet presAssocID="{ABB649EF-8E43-463F-867D-2D366C13CEE2}" presName="composite" presStyleCnt="0"/>
      <dgm:spPr/>
    </dgm:pt>
    <dgm:pt modelId="{3F80364F-CD31-455E-A0D9-69C1799F3BFE}" type="pres">
      <dgm:prSet presAssocID="{ABB649EF-8E43-463F-867D-2D366C13CEE2}" presName="imgShp" presStyleLbl="fgImgPlace1" presStyleIdx="4" presStyleCnt="5"/>
      <dgm:spPr>
        <a:blipFill rotWithShape="1">
          <a:blip xmlns:r="http://schemas.openxmlformats.org/officeDocument/2006/relationships" r:embed="rId5"/>
          <a:srcRect/>
          <a:stretch>
            <a:fillRect/>
          </a:stretch>
        </a:blipFill>
      </dgm:spPr>
    </dgm:pt>
    <dgm:pt modelId="{C5603483-8CA9-4929-979A-6AD6E8DF67A5}" type="pres">
      <dgm:prSet presAssocID="{ABB649EF-8E43-463F-867D-2D366C13CEE2}" presName="txShp" presStyleLbl="node1" presStyleIdx="4" presStyleCnt="5">
        <dgm:presLayoutVars>
          <dgm:bulletEnabled val="1"/>
        </dgm:presLayoutVars>
      </dgm:prSet>
      <dgm:spPr/>
    </dgm:pt>
  </dgm:ptLst>
  <dgm:cxnLst>
    <dgm:cxn modelId="{88D5CA04-F0D1-4581-A8FD-DE44D4719DA1}" type="presOf" srcId="{91B91616-FE54-48F8-8DC0-71EE4A191010}" destId="{12F6337D-546F-4971-8C93-B583E0A9F3A4}" srcOrd="0" destOrd="0" presId="urn:microsoft.com/office/officeart/2005/8/layout/vList3"/>
    <dgm:cxn modelId="{5FB00529-CB53-4CF5-AFA1-0260ABDA6358}" type="presOf" srcId="{58D88A49-252F-46F6-9F71-D594650C7502}" destId="{1BF313D2-F1CA-417E-9B60-BE178D9D79AD}" srcOrd="0" destOrd="0" presId="urn:microsoft.com/office/officeart/2005/8/layout/vList3"/>
    <dgm:cxn modelId="{5C8EF731-B0A2-4F89-AF88-9E838D6BC81B}" srcId="{4C5FF32D-9E13-44AC-B7A8-D297265C7314}" destId="{58D88A49-252F-46F6-9F71-D594650C7502}" srcOrd="3" destOrd="0" parTransId="{49968151-1CD8-4621-9B48-CFBA29520869}" sibTransId="{0C618E62-526C-4307-B53E-059829731901}"/>
    <dgm:cxn modelId="{8EA0E251-5E19-4E60-BC49-69160EB5AC24}" type="presOf" srcId="{14471FD4-1881-428C-B92A-E977453A3A3F}" destId="{A7B95053-951C-4BD5-9FAA-ABFB64730EA0}" srcOrd="0" destOrd="0" presId="urn:microsoft.com/office/officeart/2005/8/layout/vList3"/>
    <dgm:cxn modelId="{2D5E4D77-977D-4F56-8B22-D21249BAF1C7}" srcId="{4C5FF32D-9E13-44AC-B7A8-D297265C7314}" destId="{ABB649EF-8E43-463F-867D-2D366C13CEE2}" srcOrd="4" destOrd="0" parTransId="{895F95F1-81B7-4F67-A234-FA61A63E7447}" sibTransId="{E16FED89-48DF-40F1-AEFA-1194C40383EF}"/>
    <dgm:cxn modelId="{3AFE0B7C-BFC8-48C8-8FB5-39D10FF2DF6D}" type="presOf" srcId="{4C5FF32D-9E13-44AC-B7A8-D297265C7314}" destId="{539379D1-B1EA-43D5-B3E1-C6A1B188F144}" srcOrd="0" destOrd="0" presId="urn:microsoft.com/office/officeart/2005/8/layout/vList3"/>
    <dgm:cxn modelId="{53122082-47ED-4A69-98DA-EC8BDC6D4535}" srcId="{4C5FF32D-9E13-44AC-B7A8-D297265C7314}" destId="{91B91616-FE54-48F8-8DC0-71EE4A191010}" srcOrd="1" destOrd="0" parTransId="{6A7C06D3-6FBD-4127-9F20-8249EFC4FBDA}" sibTransId="{F4EEFB28-591F-472F-8348-369FE4C7DF11}"/>
    <dgm:cxn modelId="{30DD3586-E81F-480A-B52B-4F8DDF09837F}" type="presOf" srcId="{ABB649EF-8E43-463F-867D-2D366C13CEE2}" destId="{C5603483-8CA9-4929-979A-6AD6E8DF67A5}" srcOrd="0" destOrd="0" presId="urn:microsoft.com/office/officeart/2005/8/layout/vList3"/>
    <dgm:cxn modelId="{C7358BBD-04E0-4038-9D22-26A432C23BDE}" srcId="{4C5FF32D-9E13-44AC-B7A8-D297265C7314}" destId="{2FD1A198-0004-4918-998A-036421F41CAD}" srcOrd="0" destOrd="0" parTransId="{F42AA4BA-B461-4E0A-A143-1003D0B17AD0}" sibTransId="{E6B2070B-2840-4443-BB5B-1FF17355897F}"/>
    <dgm:cxn modelId="{FF7A3CE4-B278-45C8-9DB8-F5C72253E897}" type="presOf" srcId="{2FD1A198-0004-4918-998A-036421F41CAD}" destId="{568C051B-AB63-403F-A160-E61478D66FCE}" srcOrd="0" destOrd="0" presId="urn:microsoft.com/office/officeart/2005/8/layout/vList3"/>
    <dgm:cxn modelId="{19D061E8-6EC2-469E-BC13-DEA2CAFC2874}" srcId="{4C5FF32D-9E13-44AC-B7A8-D297265C7314}" destId="{14471FD4-1881-428C-B92A-E977453A3A3F}" srcOrd="2" destOrd="0" parTransId="{59303920-82AA-4494-B82A-717411637533}" sibTransId="{F93FB19E-4DE5-4883-B272-4BBB1D8FC72A}"/>
    <dgm:cxn modelId="{6C72F280-8354-441A-A052-21F1BE40308A}" type="presParOf" srcId="{539379D1-B1EA-43D5-B3E1-C6A1B188F144}" destId="{62C5BE28-71D6-40F6-AB2F-F2DD36BA8690}" srcOrd="0" destOrd="0" presId="urn:microsoft.com/office/officeart/2005/8/layout/vList3"/>
    <dgm:cxn modelId="{CBE9556E-2D52-4BC4-9EE5-401B340C155C}" type="presParOf" srcId="{62C5BE28-71D6-40F6-AB2F-F2DD36BA8690}" destId="{342FFB2F-595A-4F0B-AC66-FC6AC811DFA1}" srcOrd="0" destOrd="0" presId="urn:microsoft.com/office/officeart/2005/8/layout/vList3"/>
    <dgm:cxn modelId="{B3F0C3A2-675C-47F6-B09F-C60B53F69939}" type="presParOf" srcId="{62C5BE28-71D6-40F6-AB2F-F2DD36BA8690}" destId="{568C051B-AB63-403F-A160-E61478D66FCE}" srcOrd="1" destOrd="0" presId="urn:microsoft.com/office/officeart/2005/8/layout/vList3"/>
    <dgm:cxn modelId="{71762421-C4E8-4AAD-8321-9C3390896FEC}" type="presParOf" srcId="{539379D1-B1EA-43D5-B3E1-C6A1B188F144}" destId="{7660D7C9-1C65-4C19-8AA5-7879F602F17E}" srcOrd="1" destOrd="0" presId="urn:microsoft.com/office/officeart/2005/8/layout/vList3"/>
    <dgm:cxn modelId="{9177BB26-1B32-4825-933A-5FCA23153ACE}" type="presParOf" srcId="{539379D1-B1EA-43D5-B3E1-C6A1B188F144}" destId="{1F5EF59E-D725-4D37-9CC5-36144A508253}" srcOrd="2" destOrd="0" presId="urn:microsoft.com/office/officeart/2005/8/layout/vList3"/>
    <dgm:cxn modelId="{6FB27604-D329-40D3-A698-024935D7774D}" type="presParOf" srcId="{1F5EF59E-D725-4D37-9CC5-36144A508253}" destId="{C03741AC-B658-4ECD-AA0E-629FCD2C1027}" srcOrd="0" destOrd="0" presId="urn:microsoft.com/office/officeart/2005/8/layout/vList3"/>
    <dgm:cxn modelId="{DA03C518-3EE3-400C-81B5-D880AD9D11B7}" type="presParOf" srcId="{1F5EF59E-D725-4D37-9CC5-36144A508253}" destId="{12F6337D-546F-4971-8C93-B583E0A9F3A4}" srcOrd="1" destOrd="0" presId="urn:microsoft.com/office/officeart/2005/8/layout/vList3"/>
    <dgm:cxn modelId="{027F844B-94FC-4CD9-BBDD-813877C402E1}" type="presParOf" srcId="{539379D1-B1EA-43D5-B3E1-C6A1B188F144}" destId="{C71CC4CF-2A87-466F-952B-828EE56C4EB8}" srcOrd="3" destOrd="0" presId="urn:microsoft.com/office/officeart/2005/8/layout/vList3"/>
    <dgm:cxn modelId="{666BD028-FF80-4259-8938-45430CF47956}" type="presParOf" srcId="{539379D1-B1EA-43D5-B3E1-C6A1B188F144}" destId="{51A89686-6B37-4696-AD11-AC2AEA0F63D3}" srcOrd="4" destOrd="0" presId="urn:microsoft.com/office/officeart/2005/8/layout/vList3"/>
    <dgm:cxn modelId="{792F339B-F2D8-43E4-B7CE-FB375D1964C9}" type="presParOf" srcId="{51A89686-6B37-4696-AD11-AC2AEA0F63D3}" destId="{09A1625C-073A-456C-9780-040B80F1829B}" srcOrd="0" destOrd="0" presId="urn:microsoft.com/office/officeart/2005/8/layout/vList3"/>
    <dgm:cxn modelId="{CD8CB430-2C1F-4F4A-B937-CBB9E1B6BE31}" type="presParOf" srcId="{51A89686-6B37-4696-AD11-AC2AEA0F63D3}" destId="{A7B95053-951C-4BD5-9FAA-ABFB64730EA0}" srcOrd="1" destOrd="0" presId="urn:microsoft.com/office/officeart/2005/8/layout/vList3"/>
    <dgm:cxn modelId="{69EC4235-DA98-47F7-971B-9755F09B8BE0}" type="presParOf" srcId="{539379D1-B1EA-43D5-B3E1-C6A1B188F144}" destId="{61B01022-D73B-42D6-96A7-1F164298702E}" srcOrd="5" destOrd="0" presId="urn:microsoft.com/office/officeart/2005/8/layout/vList3"/>
    <dgm:cxn modelId="{07FFA139-CDD2-474F-A9B3-F845D5086F97}" type="presParOf" srcId="{539379D1-B1EA-43D5-B3E1-C6A1B188F144}" destId="{6F6B6271-71DF-4770-80D7-E8F0F7FDDC76}" srcOrd="6" destOrd="0" presId="urn:microsoft.com/office/officeart/2005/8/layout/vList3"/>
    <dgm:cxn modelId="{3E35B61C-44FD-4606-B35E-9B8AE4F99ECE}" type="presParOf" srcId="{6F6B6271-71DF-4770-80D7-E8F0F7FDDC76}" destId="{DBC4E264-41E5-4007-9DD5-B777847AC49E}" srcOrd="0" destOrd="0" presId="urn:microsoft.com/office/officeart/2005/8/layout/vList3"/>
    <dgm:cxn modelId="{2647112C-CAC2-4AFC-AD43-F2E2AEB89FFA}" type="presParOf" srcId="{6F6B6271-71DF-4770-80D7-E8F0F7FDDC76}" destId="{1BF313D2-F1CA-417E-9B60-BE178D9D79AD}" srcOrd="1" destOrd="0" presId="urn:microsoft.com/office/officeart/2005/8/layout/vList3"/>
    <dgm:cxn modelId="{1953F0AB-0388-4D36-A83B-CE80C6C4B7BA}" type="presParOf" srcId="{539379D1-B1EA-43D5-B3E1-C6A1B188F144}" destId="{CA39F166-AF59-4996-B5E3-22197C3B5AD6}" srcOrd="7" destOrd="0" presId="urn:microsoft.com/office/officeart/2005/8/layout/vList3"/>
    <dgm:cxn modelId="{E9CACE46-0876-4ECC-B469-C885F18B83FF}" type="presParOf" srcId="{539379D1-B1EA-43D5-B3E1-C6A1B188F144}" destId="{00D49C36-359D-4180-A751-0851EA5A3A4F}" srcOrd="8" destOrd="0" presId="urn:microsoft.com/office/officeart/2005/8/layout/vList3"/>
    <dgm:cxn modelId="{47D13850-AEAE-4EDF-A4DC-FD4152E648F7}" type="presParOf" srcId="{00D49C36-359D-4180-A751-0851EA5A3A4F}" destId="{3F80364F-CD31-455E-A0D9-69C1799F3BFE}" srcOrd="0" destOrd="0" presId="urn:microsoft.com/office/officeart/2005/8/layout/vList3"/>
    <dgm:cxn modelId="{0570A124-A834-403C-AE39-44E08B657373}" type="presParOf" srcId="{00D49C36-359D-4180-A751-0851EA5A3A4F}" destId="{C5603483-8CA9-4929-979A-6AD6E8DF67A5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175B0F92-0E99-431C-B98D-409D4519B2A2}" type="doc">
      <dgm:prSet loTypeId="urn:microsoft.com/office/officeart/2005/8/layout/hList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ED3D5C5D-62F2-447D-B90F-F908A4188273}">
      <dgm:prSet phldrT="[Text]" custT="1"/>
      <dgm:spPr/>
      <dgm:t>
        <a:bodyPr/>
        <a:lstStyle/>
        <a:p>
          <a:r>
            <a:rPr lang="de-DE" sz="1800" b="1" dirty="0">
              <a:solidFill>
                <a:schemeClr val="tx1"/>
              </a:solidFill>
            </a:rPr>
            <a:t>Bedingungen</a:t>
          </a:r>
        </a:p>
      </dgm:t>
    </dgm:pt>
    <dgm:pt modelId="{A51DC6E9-09EA-487B-B7E6-50DF58504E95}" type="parTrans" cxnId="{071901FD-1683-44EC-B4C8-56421106E1DA}">
      <dgm:prSet/>
      <dgm:spPr/>
      <dgm:t>
        <a:bodyPr/>
        <a:lstStyle/>
        <a:p>
          <a:endParaRPr lang="de-DE"/>
        </a:p>
      </dgm:t>
    </dgm:pt>
    <dgm:pt modelId="{E4F25DA0-691F-45E3-AF52-AA54D958273D}" type="sibTrans" cxnId="{071901FD-1683-44EC-B4C8-56421106E1DA}">
      <dgm:prSet/>
      <dgm:spPr/>
      <dgm:t>
        <a:bodyPr/>
        <a:lstStyle/>
        <a:p>
          <a:endParaRPr lang="de-DE"/>
        </a:p>
      </dgm:t>
    </dgm:pt>
    <dgm:pt modelId="{73A28563-630B-4212-AADA-3618D4743636}">
      <dgm:prSet phldrT="[Text]" custT="1"/>
      <dgm:spPr/>
      <dgm:t>
        <a:bodyPr/>
        <a:lstStyle/>
        <a:p>
          <a:r>
            <a:rPr lang="de-DE" sz="1800" b="1" dirty="0">
              <a:solidFill>
                <a:schemeClr val="tx1"/>
              </a:solidFill>
            </a:rPr>
            <a:t>Inhalte</a:t>
          </a:r>
        </a:p>
      </dgm:t>
    </dgm:pt>
    <dgm:pt modelId="{95127D5B-AF3F-4F30-8BBB-9036CAE57CE8}" type="parTrans" cxnId="{C33E59DE-2196-446A-A6E0-B9C917198AAF}">
      <dgm:prSet/>
      <dgm:spPr/>
      <dgm:t>
        <a:bodyPr/>
        <a:lstStyle/>
        <a:p>
          <a:endParaRPr lang="de-DE"/>
        </a:p>
      </dgm:t>
    </dgm:pt>
    <dgm:pt modelId="{70534440-762E-4012-8158-B17E3942E946}" type="sibTrans" cxnId="{C33E59DE-2196-446A-A6E0-B9C917198AAF}">
      <dgm:prSet/>
      <dgm:spPr/>
      <dgm:t>
        <a:bodyPr/>
        <a:lstStyle/>
        <a:p>
          <a:endParaRPr lang="de-DE"/>
        </a:p>
      </dgm:t>
    </dgm:pt>
    <dgm:pt modelId="{D3377EA5-65B1-41E5-8733-B9CEB9643600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Ruhige Atmosphäre schaffen</a:t>
          </a:r>
        </a:p>
      </dgm:t>
    </dgm:pt>
    <dgm:pt modelId="{946EFE6B-50F0-4333-A52E-0888ED08938A}" type="parTrans" cxnId="{41533ADF-1B73-4AAB-95C8-86D4DBA803DC}">
      <dgm:prSet/>
      <dgm:spPr/>
      <dgm:t>
        <a:bodyPr/>
        <a:lstStyle/>
        <a:p>
          <a:endParaRPr lang="de-DE"/>
        </a:p>
      </dgm:t>
    </dgm:pt>
    <dgm:pt modelId="{7611E1E5-BFE5-4209-8992-419BF1FF5504}" type="sibTrans" cxnId="{41533ADF-1B73-4AAB-95C8-86D4DBA803DC}">
      <dgm:prSet/>
      <dgm:spPr/>
      <dgm:t>
        <a:bodyPr/>
        <a:lstStyle/>
        <a:p>
          <a:endParaRPr lang="de-DE"/>
        </a:p>
      </dgm:t>
    </dgm:pt>
    <dgm:pt modelId="{335E982B-121F-4622-A051-493E71E37168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4-Augen-Gespräch</a:t>
          </a:r>
        </a:p>
      </dgm:t>
    </dgm:pt>
    <dgm:pt modelId="{415F9D99-5B15-4426-BDD0-A85FD6691F47}" type="parTrans" cxnId="{4342DDAC-F771-4BC6-AC05-29A94AC4A4B9}">
      <dgm:prSet/>
      <dgm:spPr/>
      <dgm:t>
        <a:bodyPr/>
        <a:lstStyle/>
        <a:p>
          <a:endParaRPr lang="de-DE"/>
        </a:p>
      </dgm:t>
    </dgm:pt>
    <dgm:pt modelId="{14395648-E4C9-438C-ACA4-6BA2E05549F8}" type="sibTrans" cxnId="{4342DDAC-F771-4BC6-AC05-29A94AC4A4B9}">
      <dgm:prSet/>
      <dgm:spPr/>
      <dgm:t>
        <a:bodyPr/>
        <a:lstStyle/>
        <a:p>
          <a:endParaRPr lang="de-DE"/>
        </a:p>
      </dgm:t>
    </dgm:pt>
    <dgm:pt modelId="{ED95143F-BBEF-4774-B26F-8013EF3527D1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Kein Zeitdruck</a:t>
          </a:r>
        </a:p>
      </dgm:t>
    </dgm:pt>
    <dgm:pt modelId="{B35A45B4-311A-4F48-9A2B-911652649A97}" type="parTrans" cxnId="{C2507C6B-E05E-485A-8324-6C99A543C97D}">
      <dgm:prSet/>
      <dgm:spPr/>
      <dgm:t>
        <a:bodyPr/>
        <a:lstStyle/>
        <a:p>
          <a:endParaRPr lang="de-DE"/>
        </a:p>
      </dgm:t>
    </dgm:pt>
    <dgm:pt modelId="{8686ED34-56D1-4FD8-8B43-1B5FDE4A7D8A}" type="sibTrans" cxnId="{C2507C6B-E05E-485A-8324-6C99A543C97D}">
      <dgm:prSet/>
      <dgm:spPr/>
      <dgm:t>
        <a:bodyPr/>
        <a:lstStyle/>
        <a:p>
          <a:endParaRPr lang="de-DE"/>
        </a:p>
      </dgm:t>
    </dgm:pt>
    <dgm:pt modelId="{B127F4FE-7812-4538-9811-47BB0D96BB83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Raum vorbereiten (Getränk?)</a:t>
          </a:r>
        </a:p>
      </dgm:t>
    </dgm:pt>
    <dgm:pt modelId="{D30F9B46-02DF-44CF-B47B-1F32C60DD462}" type="parTrans" cxnId="{766DF769-D94E-4C82-847C-1032AA8FC25F}">
      <dgm:prSet/>
      <dgm:spPr/>
      <dgm:t>
        <a:bodyPr/>
        <a:lstStyle/>
        <a:p>
          <a:endParaRPr lang="de-DE"/>
        </a:p>
      </dgm:t>
    </dgm:pt>
    <dgm:pt modelId="{68988D89-9673-45C2-9F5F-4524017D6F5F}" type="sibTrans" cxnId="{766DF769-D94E-4C82-847C-1032AA8FC25F}">
      <dgm:prSet/>
      <dgm:spPr/>
      <dgm:t>
        <a:bodyPr/>
        <a:lstStyle/>
        <a:p>
          <a:endParaRPr lang="de-DE"/>
        </a:p>
      </dgm:t>
    </dgm:pt>
    <dgm:pt modelId="{11CEC282-B4D9-4FB5-9E55-3F9A0AF8740F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Max. 20 Minuten</a:t>
          </a:r>
        </a:p>
      </dgm:t>
    </dgm:pt>
    <dgm:pt modelId="{34AA61DB-8A59-4367-AC76-BB295BB91350}" type="parTrans" cxnId="{7DFAC917-2A04-4CCC-A9D0-A93839A64611}">
      <dgm:prSet/>
      <dgm:spPr/>
      <dgm:t>
        <a:bodyPr/>
        <a:lstStyle/>
        <a:p>
          <a:endParaRPr lang="de-DE"/>
        </a:p>
      </dgm:t>
    </dgm:pt>
    <dgm:pt modelId="{D0B39BC4-E998-4C62-992C-E2B086625744}" type="sibTrans" cxnId="{7DFAC917-2A04-4CCC-A9D0-A93839A64611}">
      <dgm:prSet/>
      <dgm:spPr/>
      <dgm:t>
        <a:bodyPr/>
        <a:lstStyle/>
        <a:p>
          <a:endParaRPr lang="de-DE"/>
        </a:p>
      </dgm:t>
    </dgm:pt>
    <dgm:pt modelId="{047629E5-9672-4499-BC1E-A8884F8B6C2C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Absprache /Abstimmung der gesetzten Ziele für diese Anleitungssituation – eigene Aufzeichnungen</a:t>
          </a:r>
        </a:p>
      </dgm:t>
    </dgm:pt>
    <dgm:pt modelId="{30CFFF03-3ED1-4255-9FEA-498C729C58C0}" type="parTrans" cxnId="{7144D562-4AED-48E1-8755-8830EAF6AE06}">
      <dgm:prSet/>
      <dgm:spPr/>
      <dgm:t>
        <a:bodyPr/>
        <a:lstStyle/>
        <a:p>
          <a:endParaRPr lang="de-DE"/>
        </a:p>
      </dgm:t>
    </dgm:pt>
    <dgm:pt modelId="{75C33538-B31A-4AD7-A292-1AFA98168150}" type="sibTrans" cxnId="{7144D562-4AED-48E1-8755-8830EAF6AE06}">
      <dgm:prSet/>
      <dgm:spPr/>
      <dgm:t>
        <a:bodyPr/>
        <a:lstStyle/>
        <a:p>
          <a:endParaRPr lang="de-DE"/>
        </a:p>
      </dgm:t>
    </dgm:pt>
    <dgm:pt modelId="{09977192-1F90-4A93-9F0C-4BC4AF8A676A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Ermittlung der Lernstands</a:t>
          </a:r>
        </a:p>
      </dgm:t>
    </dgm:pt>
    <dgm:pt modelId="{D17B1E0F-0D73-4FA3-9A60-E2F58F30E41C}" type="parTrans" cxnId="{7A3A2341-4B90-4E03-94E7-8F8A1A99763F}">
      <dgm:prSet/>
      <dgm:spPr/>
      <dgm:t>
        <a:bodyPr/>
        <a:lstStyle/>
        <a:p>
          <a:endParaRPr lang="de-DE"/>
        </a:p>
      </dgm:t>
    </dgm:pt>
    <dgm:pt modelId="{7FF101B4-A7B6-4E87-8025-838AFB13C449}" type="sibTrans" cxnId="{7A3A2341-4B90-4E03-94E7-8F8A1A99763F}">
      <dgm:prSet/>
      <dgm:spPr/>
      <dgm:t>
        <a:bodyPr/>
        <a:lstStyle/>
        <a:p>
          <a:endParaRPr lang="de-DE"/>
        </a:p>
      </dgm:t>
    </dgm:pt>
    <dgm:pt modelId="{193B9BE7-AED8-47A7-B923-12E9A563DDE1}">
      <dgm:prSet custT="1"/>
      <dgm:spPr/>
      <dgm:t>
        <a:bodyPr/>
        <a:lstStyle/>
        <a:p>
          <a:r>
            <a:rPr lang="de-DE" sz="1800" b="1" dirty="0">
              <a:solidFill>
                <a:schemeClr val="tx1"/>
              </a:solidFill>
            </a:rPr>
            <a:t>Kommunikation</a:t>
          </a:r>
        </a:p>
      </dgm:t>
    </dgm:pt>
    <dgm:pt modelId="{F756CCEF-2C49-4467-8192-FDF1E288E564}" type="parTrans" cxnId="{BCB68A89-8B63-4811-B3A6-6C36DAB0BCA3}">
      <dgm:prSet/>
      <dgm:spPr/>
      <dgm:t>
        <a:bodyPr/>
        <a:lstStyle/>
        <a:p>
          <a:endParaRPr lang="de-DE"/>
        </a:p>
      </dgm:t>
    </dgm:pt>
    <dgm:pt modelId="{C0B63140-3794-4D6B-8CC2-882C4210237E}" type="sibTrans" cxnId="{BCB68A89-8B63-4811-B3A6-6C36DAB0BCA3}">
      <dgm:prSet/>
      <dgm:spPr/>
      <dgm:t>
        <a:bodyPr/>
        <a:lstStyle/>
        <a:p>
          <a:endParaRPr lang="de-DE"/>
        </a:p>
      </dgm:t>
    </dgm:pt>
    <dgm:pt modelId="{887C18DD-6F2C-4AB2-A832-9BD45847E924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Bezugskontakt herstellen (Begrüßung, Offenheit, Freundlichkeit, Respekt)</a:t>
          </a:r>
        </a:p>
      </dgm:t>
    </dgm:pt>
    <dgm:pt modelId="{7FAF5905-79E6-4F00-9363-9FAFDC336A49}" type="parTrans" cxnId="{7F34A5F4-D870-41CF-84D5-7C56C4EA3D31}">
      <dgm:prSet/>
      <dgm:spPr/>
      <dgm:t>
        <a:bodyPr/>
        <a:lstStyle/>
        <a:p>
          <a:endParaRPr lang="de-DE"/>
        </a:p>
      </dgm:t>
    </dgm:pt>
    <dgm:pt modelId="{D43F4113-36D6-4947-8642-57DF697AFC9E}" type="sibTrans" cxnId="{7F34A5F4-D870-41CF-84D5-7C56C4EA3D31}">
      <dgm:prSet/>
      <dgm:spPr/>
      <dgm:t>
        <a:bodyPr/>
        <a:lstStyle/>
        <a:p>
          <a:endParaRPr lang="de-DE"/>
        </a:p>
      </dgm:t>
    </dgm:pt>
    <dgm:pt modelId="{8AB43B9F-492F-4304-8C5D-0784AC3B0B1B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Körpersprache beachten (eigene &amp; die der anzuleitenden Person)</a:t>
          </a:r>
        </a:p>
      </dgm:t>
    </dgm:pt>
    <dgm:pt modelId="{38235632-EC1E-4830-AEA6-666101D75254}" type="parTrans" cxnId="{8CD7397A-7653-4CC5-9F70-5545D3F82D4B}">
      <dgm:prSet/>
      <dgm:spPr/>
      <dgm:t>
        <a:bodyPr/>
        <a:lstStyle/>
        <a:p>
          <a:endParaRPr lang="de-DE"/>
        </a:p>
      </dgm:t>
    </dgm:pt>
    <dgm:pt modelId="{6B7C5675-0E6C-4EB6-B674-75624B9B7E6B}" type="sibTrans" cxnId="{8CD7397A-7653-4CC5-9F70-5545D3F82D4B}">
      <dgm:prSet/>
      <dgm:spPr/>
      <dgm:t>
        <a:bodyPr/>
        <a:lstStyle/>
        <a:p>
          <a:endParaRPr lang="de-DE"/>
        </a:p>
      </dgm:t>
    </dgm:pt>
    <dgm:pt modelId="{24DC6ACC-F244-4DC4-A0EA-FB8EBF4E9FEE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Struktur</a:t>
          </a:r>
        </a:p>
      </dgm:t>
    </dgm:pt>
    <dgm:pt modelId="{6552EC46-CEF2-45A8-9BA3-378762DCBC79}" type="parTrans" cxnId="{A992A595-4B31-4543-BC39-A23F8E13C68D}">
      <dgm:prSet/>
      <dgm:spPr/>
      <dgm:t>
        <a:bodyPr/>
        <a:lstStyle/>
        <a:p>
          <a:endParaRPr lang="de-DE"/>
        </a:p>
      </dgm:t>
    </dgm:pt>
    <dgm:pt modelId="{A1F80404-01F4-4042-91E2-1E86B67A0C3D}" type="sibTrans" cxnId="{A992A595-4B31-4543-BC39-A23F8E13C68D}">
      <dgm:prSet/>
      <dgm:spPr/>
      <dgm:t>
        <a:bodyPr/>
        <a:lstStyle/>
        <a:p>
          <a:endParaRPr lang="de-DE"/>
        </a:p>
      </dgm:t>
    </dgm:pt>
    <dgm:pt modelId="{F7A12529-3CED-4409-88B4-41440175BF80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Zeit &amp; Ort wählen</a:t>
          </a:r>
        </a:p>
      </dgm:t>
    </dgm:pt>
    <dgm:pt modelId="{F52F03B1-1D8C-45A1-BFAC-4FA67915D7F0}" type="parTrans" cxnId="{1FC3E415-9C20-438B-A58C-6CD5FC4DBE71}">
      <dgm:prSet/>
      <dgm:spPr/>
      <dgm:t>
        <a:bodyPr/>
        <a:lstStyle/>
        <a:p>
          <a:endParaRPr lang="de-DE"/>
        </a:p>
      </dgm:t>
    </dgm:pt>
    <dgm:pt modelId="{1633212C-4D10-4317-9B84-DA2F39CB62C4}" type="sibTrans" cxnId="{1FC3E415-9C20-438B-A58C-6CD5FC4DBE71}">
      <dgm:prSet/>
      <dgm:spPr/>
      <dgm:t>
        <a:bodyPr/>
        <a:lstStyle/>
        <a:p>
          <a:endParaRPr lang="de-DE"/>
        </a:p>
      </dgm:t>
    </dgm:pt>
    <dgm:pt modelId="{40ABD7CE-2385-41CF-92C0-4E3D56B9A006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Besetzung &amp; Dienstplan beachten</a:t>
          </a:r>
        </a:p>
      </dgm:t>
    </dgm:pt>
    <dgm:pt modelId="{3785C1A4-B01D-4006-9734-8812CC880858}" type="parTrans" cxnId="{18ED10C2-41CD-40DD-A390-3936D01C8EC2}">
      <dgm:prSet/>
      <dgm:spPr/>
      <dgm:t>
        <a:bodyPr/>
        <a:lstStyle/>
        <a:p>
          <a:endParaRPr lang="de-DE"/>
        </a:p>
      </dgm:t>
    </dgm:pt>
    <dgm:pt modelId="{A2564509-6390-492F-AA44-8B49A6853037}" type="sibTrans" cxnId="{18ED10C2-41CD-40DD-A390-3936D01C8EC2}">
      <dgm:prSet/>
      <dgm:spPr/>
      <dgm:t>
        <a:bodyPr/>
        <a:lstStyle/>
        <a:p>
          <a:endParaRPr lang="de-DE"/>
        </a:p>
      </dgm:t>
    </dgm:pt>
    <dgm:pt modelId="{17D66591-66D1-49EC-8139-92B4F2305FCF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Ziele abgleichen</a:t>
          </a:r>
        </a:p>
      </dgm:t>
    </dgm:pt>
    <dgm:pt modelId="{08C19CF2-816D-4ED0-824C-FBE4CFB4DC46}" type="parTrans" cxnId="{0A92E4C9-0D78-4602-865D-917B47ED2FA2}">
      <dgm:prSet/>
      <dgm:spPr/>
      <dgm:t>
        <a:bodyPr/>
        <a:lstStyle/>
        <a:p>
          <a:endParaRPr lang="de-DE"/>
        </a:p>
      </dgm:t>
    </dgm:pt>
    <dgm:pt modelId="{4E05F030-F3A1-4E71-92AE-A1C5DE7E40CA}" type="sibTrans" cxnId="{0A92E4C9-0D78-4602-865D-917B47ED2FA2}">
      <dgm:prSet/>
      <dgm:spPr/>
      <dgm:t>
        <a:bodyPr/>
        <a:lstStyle/>
        <a:p>
          <a:endParaRPr lang="de-DE"/>
        </a:p>
      </dgm:t>
    </dgm:pt>
    <dgm:pt modelId="{B3392D83-03EB-48E2-B9E4-8B4554D6342E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Verhaltensabsprachen, ggf. Notsignal vereinbaren</a:t>
          </a:r>
        </a:p>
      </dgm:t>
    </dgm:pt>
    <dgm:pt modelId="{0BBE244D-93B1-4343-8230-6271CC91463D}" type="parTrans" cxnId="{7B6B3A12-48B6-4B7F-97FB-2D2DCB813185}">
      <dgm:prSet/>
      <dgm:spPr/>
      <dgm:t>
        <a:bodyPr/>
        <a:lstStyle/>
        <a:p>
          <a:endParaRPr lang="de-DE"/>
        </a:p>
      </dgm:t>
    </dgm:pt>
    <dgm:pt modelId="{8A86576F-4813-49E3-B259-C93DC79AAD40}" type="sibTrans" cxnId="{7B6B3A12-48B6-4B7F-97FB-2D2DCB813185}">
      <dgm:prSet/>
      <dgm:spPr/>
      <dgm:t>
        <a:bodyPr/>
        <a:lstStyle/>
        <a:p>
          <a:endParaRPr lang="de-DE"/>
        </a:p>
      </dgm:t>
    </dgm:pt>
    <dgm:pt modelId="{1183769B-5C10-496D-A1B0-ABDF952CF133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Anleitungsmodell vorstellen und besprechen</a:t>
          </a:r>
        </a:p>
      </dgm:t>
    </dgm:pt>
    <dgm:pt modelId="{EF89D8B0-C8F3-4D3B-B857-BA3698D3A78C}" type="parTrans" cxnId="{D7E8A785-78B7-4FEB-8033-F4D51A26BC1C}">
      <dgm:prSet/>
      <dgm:spPr/>
      <dgm:t>
        <a:bodyPr/>
        <a:lstStyle/>
        <a:p>
          <a:endParaRPr lang="de-DE"/>
        </a:p>
      </dgm:t>
    </dgm:pt>
    <dgm:pt modelId="{5C39769E-77C5-46AA-93C5-B013C284FDFF}" type="sibTrans" cxnId="{D7E8A785-78B7-4FEB-8033-F4D51A26BC1C}">
      <dgm:prSet/>
      <dgm:spPr/>
      <dgm:t>
        <a:bodyPr/>
        <a:lstStyle/>
        <a:p>
          <a:endParaRPr lang="de-DE"/>
        </a:p>
      </dgm:t>
    </dgm:pt>
    <dgm:pt modelId="{59C5ABA6-35AC-485E-B063-DE6DD4421800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Offene Fragen klären</a:t>
          </a:r>
        </a:p>
      </dgm:t>
    </dgm:pt>
    <dgm:pt modelId="{F6894826-144B-49C5-8F5F-733C036A4089}" type="parTrans" cxnId="{5AB6A83E-50AE-442C-A80A-9F09E8DBC26A}">
      <dgm:prSet/>
      <dgm:spPr/>
      <dgm:t>
        <a:bodyPr/>
        <a:lstStyle/>
        <a:p>
          <a:endParaRPr lang="de-DE"/>
        </a:p>
      </dgm:t>
    </dgm:pt>
    <dgm:pt modelId="{1683040D-1B2E-485E-9C6D-5531483C3CB2}" type="sibTrans" cxnId="{5AB6A83E-50AE-442C-A80A-9F09E8DBC26A}">
      <dgm:prSet/>
      <dgm:spPr/>
      <dgm:t>
        <a:bodyPr/>
        <a:lstStyle/>
        <a:p>
          <a:endParaRPr lang="de-DE"/>
        </a:p>
      </dgm:t>
    </dgm:pt>
    <dgm:pt modelId="{CF2F1F73-0319-460F-A746-74B2C90A87E9}" type="pres">
      <dgm:prSet presAssocID="{175B0F92-0E99-431C-B98D-409D4519B2A2}" presName="linearFlow" presStyleCnt="0">
        <dgm:presLayoutVars>
          <dgm:dir/>
          <dgm:animLvl val="lvl"/>
          <dgm:resizeHandles/>
        </dgm:presLayoutVars>
      </dgm:prSet>
      <dgm:spPr/>
    </dgm:pt>
    <dgm:pt modelId="{35790C0E-5F2B-46A0-B9AE-ECB25DEA4AD5}" type="pres">
      <dgm:prSet presAssocID="{ED3D5C5D-62F2-447D-B90F-F908A4188273}" presName="compositeNode" presStyleCnt="0">
        <dgm:presLayoutVars>
          <dgm:bulletEnabled val="1"/>
        </dgm:presLayoutVars>
      </dgm:prSet>
      <dgm:spPr/>
    </dgm:pt>
    <dgm:pt modelId="{A3F0A306-227F-4CEE-976F-19EE2D23D21E}" type="pres">
      <dgm:prSet presAssocID="{ED3D5C5D-62F2-447D-B90F-F908A4188273}" presName="image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abelle"/>
        </a:ext>
      </dgm:extLst>
    </dgm:pt>
    <dgm:pt modelId="{DA298790-E298-4A31-A331-A25CE00E3968}" type="pres">
      <dgm:prSet presAssocID="{ED3D5C5D-62F2-447D-B90F-F908A4188273}" presName="childNode" presStyleLbl="node1" presStyleIdx="0" presStyleCnt="3">
        <dgm:presLayoutVars>
          <dgm:bulletEnabled val="1"/>
        </dgm:presLayoutVars>
      </dgm:prSet>
      <dgm:spPr/>
    </dgm:pt>
    <dgm:pt modelId="{EA306BC8-C901-47D8-B216-3787E18A332B}" type="pres">
      <dgm:prSet presAssocID="{ED3D5C5D-62F2-447D-B90F-F908A4188273}" presName="parentNode" presStyleLbl="revTx" presStyleIdx="0" presStyleCnt="3">
        <dgm:presLayoutVars>
          <dgm:chMax val="0"/>
          <dgm:bulletEnabled val="1"/>
        </dgm:presLayoutVars>
      </dgm:prSet>
      <dgm:spPr/>
    </dgm:pt>
    <dgm:pt modelId="{B2E27F8D-FBAE-4180-BF0D-8B359D32C966}" type="pres">
      <dgm:prSet presAssocID="{E4F25DA0-691F-45E3-AF52-AA54D958273D}" presName="sibTrans" presStyleCnt="0"/>
      <dgm:spPr/>
    </dgm:pt>
    <dgm:pt modelId="{68077274-8BDA-4BCD-A5CD-37C4DC27D400}" type="pres">
      <dgm:prSet presAssocID="{73A28563-630B-4212-AADA-3618D4743636}" presName="compositeNode" presStyleCnt="0">
        <dgm:presLayoutVars>
          <dgm:bulletEnabled val="1"/>
        </dgm:presLayoutVars>
      </dgm:prSet>
      <dgm:spPr/>
    </dgm:pt>
    <dgm:pt modelId="{62433E2D-66E4-4ABC-A6E5-30009C21DB69}" type="pres">
      <dgm:prSet presAssocID="{73A28563-630B-4212-AADA-3618D4743636}" presName="image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eöffnetes Buch"/>
        </a:ext>
      </dgm:extLst>
    </dgm:pt>
    <dgm:pt modelId="{E2069983-7782-4A15-BC96-411534486F36}" type="pres">
      <dgm:prSet presAssocID="{73A28563-630B-4212-AADA-3618D4743636}" presName="childNode" presStyleLbl="node1" presStyleIdx="1" presStyleCnt="3">
        <dgm:presLayoutVars>
          <dgm:bulletEnabled val="1"/>
        </dgm:presLayoutVars>
      </dgm:prSet>
      <dgm:spPr/>
    </dgm:pt>
    <dgm:pt modelId="{7A24BE29-B051-4F7A-9776-6833F03D0B47}" type="pres">
      <dgm:prSet presAssocID="{73A28563-630B-4212-AADA-3618D4743636}" presName="parentNode" presStyleLbl="revTx" presStyleIdx="1" presStyleCnt="3">
        <dgm:presLayoutVars>
          <dgm:chMax val="0"/>
          <dgm:bulletEnabled val="1"/>
        </dgm:presLayoutVars>
      </dgm:prSet>
      <dgm:spPr/>
    </dgm:pt>
    <dgm:pt modelId="{BC510C0D-F94E-4EF8-AFF2-D649A69E4DFA}" type="pres">
      <dgm:prSet presAssocID="{70534440-762E-4012-8158-B17E3942E946}" presName="sibTrans" presStyleCnt="0"/>
      <dgm:spPr/>
    </dgm:pt>
    <dgm:pt modelId="{F987F469-4F95-4D7B-B05A-6D63F33DF86E}" type="pres">
      <dgm:prSet presAssocID="{193B9BE7-AED8-47A7-B923-12E9A563DDE1}" presName="compositeNode" presStyleCnt="0">
        <dgm:presLayoutVars>
          <dgm:bulletEnabled val="1"/>
        </dgm:presLayoutVars>
      </dgm:prSet>
      <dgm:spPr/>
    </dgm:pt>
    <dgm:pt modelId="{B63F6120-DBA3-4DB3-BF7C-B8AF890F46F0}" type="pres">
      <dgm:prSet presAssocID="{193B9BE7-AED8-47A7-B923-12E9A563DDE1}" presName="image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rketing"/>
        </a:ext>
      </dgm:extLst>
    </dgm:pt>
    <dgm:pt modelId="{F3A52D6A-BB84-4552-A5A1-E81D0A9FA4E8}" type="pres">
      <dgm:prSet presAssocID="{193B9BE7-AED8-47A7-B923-12E9A563DDE1}" presName="childNode" presStyleLbl="node1" presStyleIdx="2" presStyleCnt="3">
        <dgm:presLayoutVars>
          <dgm:bulletEnabled val="1"/>
        </dgm:presLayoutVars>
      </dgm:prSet>
      <dgm:spPr/>
    </dgm:pt>
    <dgm:pt modelId="{77C1F913-E2BE-4429-A2B1-A460FABD3FF8}" type="pres">
      <dgm:prSet presAssocID="{193B9BE7-AED8-47A7-B923-12E9A563DDE1}" presName="parentNode" presStyleLbl="revTx" presStyleIdx="2" presStyleCnt="3">
        <dgm:presLayoutVars>
          <dgm:chMax val="0"/>
          <dgm:bulletEnabled val="1"/>
        </dgm:presLayoutVars>
      </dgm:prSet>
      <dgm:spPr/>
    </dgm:pt>
  </dgm:ptLst>
  <dgm:cxnLst>
    <dgm:cxn modelId="{8A573200-E7B1-4538-B98D-F0591F0294A0}" type="presOf" srcId="{09977192-1F90-4A93-9F0C-4BC4AF8A676A}" destId="{E2069983-7782-4A15-BC96-411534486F36}" srcOrd="0" destOrd="3" presId="urn:microsoft.com/office/officeart/2005/8/layout/hList2"/>
    <dgm:cxn modelId="{FA83210A-9C68-4664-8C69-26DBA2FCC583}" type="presOf" srcId="{D3377EA5-65B1-41E5-8733-B9CEB9643600}" destId="{DA298790-E298-4A31-A331-A25CE00E3968}" srcOrd="0" destOrd="2" presId="urn:microsoft.com/office/officeart/2005/8/layout/hList2"/>
    <dgm:cxn modelId="{852CAC0A-3108-4012-B9DF-7812477C88ED}" type="presOf" srcId="{59C5ABA6-35AC-485E-B063-DE6DD4421800}" destId="{E2069983-7782-4A15-BC96-411534486F36}" srcOrd="0" destOrd="6" presId="urn:microsoft.com/office/officeart/2005/8/layout/hList2"/>
    <dgm:cxn modelId="{F856F20B-A09A-43C6-A396-C149032EA2E7}" type="presOf" srcId="{24DC6ACC-F244-4DC4-A0EA-FB8EBF4E9FEE}" destId="{E2069983-7782-4A15-BC96-411534486F36}" srcOrd="0" destOrd="0" presId="urn:microsoft.com/office/officeart/2005/8/layout/hList2"/>
    <dgm:cxn modelId="{7B6B3A12-48B6-4B7F-97FB-2D2DCB813185}" srcId="{73A28563-630B-4212-AADA-3618D4743636}" destId="{B3392D83-03EB-48E2-B9E4-8B4554D6342E}" srcOrd="4" destOrd="0" parTransId="{0BBE244D-93B1-4343-8230-6271CC91463D}" sibTransId="{8A86576F-4813-49E3-B259-C93DC79AAD40}"/>
    <dgm:cxn modelId="{1FC3E415-9C20-438B-A58C-6CD5FC4DBE71}" srcId="{ED3D5C5D-62F2-447D-B90F-F908A4188273}" destId="{F7A12529-3CED-4409-88B4-41440175BF80}" srcOrd="0" destOrd="0" parTransId="{F52F03B1-1D8C-45A1-BFAC-4FA67915D7F0}" sibTransId="{1633212C-4D10-4317-9B84-DA2F39CB62C4}"/>
    <dgm:cxn modelId="{8292F915-75ED-4097-A896-0463FF769EB7}" type="presOf" srcId="{ED95143F-BBEF-4774-B26F-8013EF3527D1}" destId="{DA298790-E298-4A31-A331-A25CE00E3968}" srcOrd="0" destOrd="6" presId="urn:microsoft.com/office/officeart/2005/8/layout/hList2"/>
    <dgm:cxn modelId="{7DFAC917-2A04-4CCC-A9D0-A93839A64611}" srcId="{ED3D5C5D-62F2-447D-B90F-F908A4188273}" destId="{11CEC282-B4D9-4FB5-9E55-3F9A0AF8740F}" srcOrd="5" destOrd="0" parTransId="{34AA61DB-8A59-4367-AC76-BB295BB91350}" sibTransId="{D0B39BC4-E998-4C62-992C-E2B086625744}"/>
    <dgm:cxn modelId="{F47F1F1A-7D89-41C3-9E42-D0282452E1D0}" type="presOf" srcId="{17D66591-66D1-49EC-8139-92B4F2305FCF}" destId="{E2069983-7782-4A15-BC96-411534486F36}" srcOrd="0" destOrd="2" presId="urn:microsoft.com/office/officeart/2005/8/layout/hList2"/>
    <dgm:cxn modelId="{1B52EF20-66BC-4DF3-A8D2-C5D130642C06}" type="presOf" srcId="{887C18DD-6F2C-4AB2-A832-9BD45847E924}" destId="{F3A52D6A-BB84-4552-A5A1-E81D0A9FA4E8}" srcOrd="0" destOrd="0" presId="urn:microsoft.com/office/officeart/2005/8/layout/hList2"/>
    <dgm:cxn modelId="{5AB6A83E-50AE-442C-A80A-9F09E8DBC26A}" srcId="{73A28563-630B-4212-AADA-3618D4743636}" destId="{59C5ABA6-35AC-485E-B063-DE6DD4421800}" srcOrd="6" destOrd="0" parTransId="{F6894826-144B-49C5-8F5F-733C036A4089}" sibTransId="{1683040D-1B2E-485E-9C6D-5531483C3CB2}"/>
    <dgm:cxn modelId="{3E6F305B-0104-43C3-9616-CA7BCE6AFBAB}" type="presOf" srcId="{047629E5-9672-4499-BC1E-A8884F8B6C2C}" destId="{E2069983-7782-4A15-BC96-411534486F36}" srcOrd="0" destOrd="1" presId="urn:microsoft.com/office/officeart/2005/8/layout/hList2"/>
    <dgm:cxn modelId="{7A3A2341-4B90-4E03-94E7-8F8A1A99763F}" srcId="{73A28563-630B-4212-AADA-3618D4743636}" destId="{09977192-1F90-4A93-9F0C-4BC4AF8A676A}" srcOrd="3" destOrd="0" parTransId="{D17B1E0F-0D73-4FA3-9A60-E2F58F30E41C}" sibTransId="{7FF101B4-A7B6-4E87-8025-838AFB13C449}"/>
    <dgm:cxn modelId="{7144D562-4AED-48E1-8755-8830EAF6AE06}" srcId="{73A28563-630B-4212-AADA-3618D4743636}" destId="{047629E5-9672-4499-BC1E-A8884F8B6C2C}" srcOrd="1" destOrd="0" parTransId="{30CFFF03-3ED1-4255-9FEA-498C729C58C0}" sibTransId="{75C33538-B31A-4AD7-A292-1AFA98168150}"/>
    <dgm:cxn modelId="{766DF769-D94E-4C82-847C-1032AA8FC25F}" srcId="{ED3D5C5D-62F2-447D-B90F-F908A4188273}" destId="{B127F4FE-7812-4538-9811-47BB0D96BB83}" srcOrd="3" destOrd="0" parTransId="{D30F9B46-02DF-44CF-B47B-1F32C60DD462}" sibTransId="{68988D89-9673-45C2-9F5F-4524017D6F5F}"/>
    <dgm:cxn modelId="{C2507C6B-E05E-485A-8324-6C99A543C97D}" srcId="{ED3D5C5D-62F2-447D-B90F-F908A4188273}" destId="{ED95143F-BBEF-4774-B26F-8013EF3527D1}" srcOrd="6" destOrd="0" parTransId="{B35A45B4-311A-4F48-9A2B-911652649A97}" sibTransId="{8686ED34-56D1-4FD8-8B43-1B5FDE4A7D8A}"/>
    <dgm:cxn modelId="{3129DA4B-A4FB-428B-95F7-F4D964DB126D}" type="presOf" srcId="{73A28563-630B-4212-AADA-3618D4743636}" destId="{7A24BE29-B051-4F7A-9776-6833F03D0B47}" srcOrd="0" destOrd="0" presId="urn:microsoft.com/office/officeart/2005/8/layout/hList2"/>
    <dgm:cxn modelId="{47859975-F243-4795-AB58-9A8FA33F6FD5}" type="presOf" srcId="{11CEC282-B4D9-4FB5-9E55-3F9A0AF8740F}" destId="{DA298790-E298-4A31-A331-A25CE00E3968}" srcOrd="0" destOrd="5" presId="urn:microsoft.com/office/officeart/2005/8/layout/hList2"/>
    <dgm:cxn modelId="{9C88D656-1789-4838-ADA8-92347DDB4593}" type="presOf" srcId="{ED3D5C5D-62F2-447D-B90F-F908A4188273}" destId="{EA306BC8-C901-47D8-B216-3787E18A332B}" srcOrd="0" destOrd="0" presId="urn:microsoft.com/office/officeart/2005/8/layout/hList2"/>
    <dgm:cxn modelId="{8CD7397A-7653-4CC5-9F70-5545D3F82D4B}" srcId="{193B9BE7-AED8-47A7-B923-12E9A563DDE1}" destId="{8AB43B9F-492F-4304-8C5D-0784AC3B0B1B}" srcOrd="1" destOrd="0" parTransId="{38235632-EC1E-4830-AEA6-666101D75254}" sibTransId="{6B7C5675-0E6C-4EB6-B674-75624B9B7E6B}"/>
    <dgm:cxn modelId="{D7E8A785-78B7-4FEB-8033-F4D51A26BC1C}" srcId="{73A28563-630B-4212-AADA-3618D4743636}" destId="{1183769B-5C10-496D-A1B0-ABDF952CF133}" srcOrd="5" destOrd="0" parTransId="{EF89D8B0-C8F3-4D3B-B857-BA3698D3A78C}" sibTransId="{5C39769E-77C5-46AA-93C5-B013C284FDFF}"/>
    <dgm:cxn modelId="{BCB68A89-8B63-4811-B3A6-6C36DAB0BCA3}" srcId="{175B0F92-0E99-431C-B98D-409D4519B2A2}" destId="{193B9BE7-AED8-47A7-B923-12E9A563DDE1}" srcOrd="2" destOrd="0" parTransId="{F756CCEF-2C49-4467-8192-FDF1E288E564}" sibTransId="{C0B63140-3794-4D6B-8CC2-882C4210237E}"/>
    <dgm:cxn modelId="{CBA6B08E-8969-40B2-AB74-CCD3349F4CFB}" type="presOf" srcId="{1183769B-5C10-496D-A1B0-ABDF952CF133}" destId="{E2069983-7782-4A15-BC96-411534486F36}" srcOrd="0" destOrd="5" presId="urn:microsoft.com/office/officeart/2005/8/layout/hList2"/>
    <dgm:cxn modelId="{A992A595-4B31-4543-BC39-A23F8E13C68D}" srcId="{73A28563-630B-4212-AADA-3618D4743636}" destId="{24DC6ACC-F244-4DC4-A0EA-FB8EBF4E9FEE}" srcOrd="0" destOrd="0" parTransId="{6552EC46-CEF2-45A8-9BA3-378762DCBC79}" sibTransId="{A1F80404-01F4-4042-91E2-1E86B67A0C3D}"/>
    <dgm:cxn modelId="{4342DDAC-F771-4BC6-AC05-29A94AC4A4B9}" srcId="{ED3D5C5D-62F2-447D-B90F-F908A4188273}" destId="{335E982B-121F-4622-A051-493E71E37168}" srcOrd="4" destOrd="0" parTransId="{415F9D99-5B15-4426-BDD0-A85FD6691F47}" sibTransId="{14395648-E4C9-438C-ACA4-6BA2E05549F8}"/>
    <dgm:cxn modelId="{98446EB2-A56E-4952-A867-2D7BA295DEED}" type="presOf" srcId="{F7A12529-3CED-4409-88B4-41440175BF80}" destId="{DA298790-E298-4A31-A331-A25CE00E3968}" srcOrd="0" destOrd="0" presId="urn:microsoft.com/office/officeart/2005/8/layout/hList2"/>
    <dgm:cxn modelId="{75E761B7-A440-41C9-97A4-8BF1C083E64A}" type="presOf" srcId="{335E982B-121F-4622-A051-493E71E37168}" destId="{DA298790-E298-4A31-A331-A25CE00E3968}" srcOrd="0" destOrd="4" presId="urn:microsoft.com/office/officeart/2005/8/layout/hList2"/>
    <dgm:cxn modelId="{3595A1B9-CFEE-4337-859F-417C123B9087}" type="presOf" srcId="{193B9BE7-AED8-47A7-B923-12E9A563DDE1}" destId="{77C1F913-E2BE-4429-A2B1-A460FABD3FF8}" srcOrd="0" destOrd="0" presId="urn:microsoft.com/office/officeart/2005/8/layout/hList2"/>
    <dgm:cxn modelId="{64E7B1B9-26B0-49FB-A394-704330042CD7}" type="presOf" srcId="{8AB43B9F-492F-4304-8C5D-0784AC3B0B1B}" destId="{F3A52D6A-BB84-4552-A5A1-E81D0A9FA4E8}" srcOrd="0" destOrd="1" presId="urn:microsoft.com/office/officeart/2005/8/layout/hList2"/>
    <dgm:cxn modelId="{18ED10C2-41CD-40DD-A390-3936D01C8EC2}" srcId="{ED3D5C5D-62F2-447D-B90F-F908A4188273}" destId="{40ABD7CE-2385-41CF-92C0-4E3D56B9A006}" srcOrd="1" destOrd="0" parTransId="{3785C1A4-B01D-4006-9734-8812CC880858}" sibTransId="{A2564509-6390-492F-AA44-8B49A6853037}"/>
    <dgm:cxn modelId="{0A92E4C9-0D78-4602-865D-917B47ED2FA2}" srcId="{73A28563-630B-4212-AADA-3618D4743636}" destId="{17D66591-66D1-49EC-8139-92B4F2305FCF}" srcOrd="2" destOrd="0" parTransId="{08C19CF2-816D-4ED0-824C-FBE4CFB4DC46}" sibTransId="{4E05F030-F3A1-4E71-92AE-A1C5DE7E40CA}"/>
    <dgm:cxn modelId="{329867D4-8635-4804-8F56-EE1A4F3DE2BB}" type="presOf" srcId="{B3392D83-03EB-48E2-B9E4-8B4554D6342E}" destId="{E2069983-7782-4A15-BC96-411534486F36}" srcOrd="0" destOrd="4" presId="urn:microsoft.com/office/officeart/2005/8/layout/hList2"/>
    <dgm:cxn modelId="{0991CFDD-9614-47D1-BC20-5FB319785225}" type="presOf" srcId="{175B0F92-0E99-431C-B98D-409D4519B2A2}" destId="{CF2F1F73-0319-460F-A746-74B2C90A87E9}" srcOrd="0" destOrd="0" presId="urn:microsoft.com/office/officeart/2005/8/layout/hList2"/>
    <dgm:cxn modelId="{C33E59DE-2196-446A-A6E0-B9C917198AAF}" srcId="{175B0F92-0E99-431C-B98D-409D4519B2A2}" destId="{73A28563-630B-4212-AADA-3618D4743636}" srcOrd="1" destOrd="0" parTransId="{95127D5B-AF3F-4F30-8BBB-9036CAE57CE8}" sibTransId="{70534440-762E-4012-8158-B17E3942E946}"/>
    <dgm:cxn modelId="{41533ADF-1B73-4AAB-95C8-86D4DBA803DC}" srcId="{ED3D5C5D-62F2-447D-B90F-F908A4188273}" destId="{D3377EA5-65B1-41E5-8733-B9CEB9643600}" srcOrd="2" destOrd="0" parTransId="{946EFE6B-50F0-4333-A52E-0888ED08938A}" sibTransId="{7611E1E5-BFE5-4209-8992-419BF1FF5504}"/>
    <dgm:cxn modelId="{7C7D43E3-BC76-4EF4-B5B8-3111EC439E30}" type="presOf" srcId="{40ABD7CE-2385-41CF-92C0-4E3D56B9A006}" destId="{DA298790-E298-4A31-A331-A25CE00E3968}" srcOrd="0" destOrd="1" presId="urn:microsoft.com/office/officeart/2005/8/layout/hList2"/>
    <dgm:cxn modelId="{733E03E9-AFCE-4740-83C0-5C938FCA6F40}" type="presOf" srcId="{B127F4FE-7812-4538-9811-47BB0D96BB83}" destId="{DA298790-E298-4A31-A331-A25CE00E3968}" srcOrd="0" destOrd="3" presId="urn:microsoft.com/office/officeart/2005/8/layout/hList2"/>
    <dgm:cxn modelId="{7F34A5F4-D870-41CF-84D5-7C56C4EA3D31}" srcId="{193B9BE7-AED8-47A7-B923-12E9A563DDE1}" destId="{887C18DD-6F2C-4AB2-A832-9BD45847E924}" srcOrd="0" destOrd="0" parTransId="{7FAF5905-79E6-4F00-9363-9FAFDC336A49}" sibTransId="{D43F4113-36D6-4947-8642-57DF697AFC9E}"/>
    <dgm:cxn modelId="{071901FD-1683-44EC-B4C8-56421106E1DA}" srcId="{175B0F92-0E99-431C-B98D-409D4519B2A2}" destId="{ED3D5C5D-62F2-447D-B90F-F908A4188273}" srcOrd="0" destOrd="0" parTransId="{A51DC6E9-09EA-487B-B7E6-50DF58504E95}" sibTransId="{E4F25DA0-691F-45E3-AF52-AA54D958273D}"/>
    <dgm:cxn modelId="{D464C71D-46E6-441C-99E1-AE12C140B8BB}" type="presParOf" srcId="{CF2F1F73-0319-460F-A746-74B2C90A87E9}" destId="{35790C0E-5F2B-46A0-B9AE-ECB25DEA4AD5}" srcOrd="0" destOrd="0" presId="urn:microsoft.com/office/officeart/2005/8/layout/hList2"/>
    <dgm:cxn modelId="{2D9BBC38-5AEE-46DD-823E-BB7147CFE584}" type="presParOf" srcId="{35790C0E-5F2B-46A0-B9AE-ECB25DEA4AD5}" destId="{A3F0A306-227F-4CEE-976F-19EE2D23D21E}" srcOrd="0" destOrd="0" presId="urn:microsoft.com/office/officeart/2005/8/layout/hList2"/>
    <dgm:cxn modelId="{AB48B220-7811-46FC-9A96-9A94D947C8F3}" type="presParOf" srcId="{35790C0E-5F2B-46A0-B9AE-ECB25DEA4AD5}" destId="{DA298790-E298-4A31-A331-A25CE00E3968}" srcOrd="1" destOrd="0" presId="urn:microsoft.com/office/officeart/2005/8/layout/hList2"/>
    <dgm:cxn modelId="{EC7EBDF0-8473-40A0-8AC9-F77697279B75}" type="presParOf" srcId="{35790C0E-5F2B-46A0-B9AE-ECB25DEA4AD5}" destId="{EA306BC8-C901-47D8-B216-3787E18A332B}" srcOrd="2" destOrd="0" presId="urn:microsoft.com/office/officeart/2005/8/layout/hList2"/>
    <dgm:cxn modelId="{D37B57B5-86B0-421A-AD26-01ED6C676724}" type="presParOf" srcId="{CF2F1F73-0319-460F-A746-74B2C90A87E9}" destId="{B2E27F8D-FBAE-4180-BF0D-8B359D32C966}" srcOrd="1" destOrd="0" presId="urn:microsoft.com/office/officeart/2005/8/layout/hList2"/>
    <dgm:cxn modelId="{090DC03A-CEB7-4A88-89D5-DEC1BE12700F}" type="presParOf" srcId="{CF2F1F73-0319-460F-A746-74B2C90A87E9}" destId="{68077274-8BDA-4BCD-A5CD-37C4DC27D400}" srcOrd="2" destOrd="0" presId="urn:microsoft.com/office/officeart/2005/8/layout/hList2"/>
    <dgm:cxn modelId="{CB531F48-77A9-40E4-9657-4209612530AC}" type="presParOf" srcId="{68077274-8BDA-4BCD-A5CD-37C4DC27D400}" destId="{62433E2D-66E4-4ABC-A6E5-30009C21DB69}" srcOrd="0" destOrd="0" presId="urn:microsoft.com/office/officeart/2005/8/layout/hList2"/>
    <dgm:cxn modelId="{B8C3615F-B0CA-4647-8BA5-BE940CB200FC}" type="presParOf" srcId="{68077274-8BDA-4BCD-A5CD-37C4DC27D400}" destId="{E2069983-7782-4A15-BC96-411534486F36}" srcOrd="1" destOrd="0" presId="urn:microsoft.com/office/officeart/2005/8/layout/hList2"/>
    <dgm:cxn modelId="{E9F4B5E0-5842-47A9-95EB-8CD4183B8813}" type="presParOf" srcId="{68077274-8BDA-4BCD-A5CD-37C4DC27D400}" destId="{7A24BE29-B051-4F7A-9776-6833F03D0B47}" srcOrd="2" destOrd="0" presId="urn:microsoft.com/office/officeart/2005/8/layout/hList2"/>
    <dgm:cxn modelId="{E5EC0A53-1BA9-4BB1-BCBA-513694FAEF68}" type="presParOf" srcId="{CF2F1F73-0319-460F-A746-74B2C90A87E9}" destId="{BC510C0D-F94E-4EF8-AFF2-D649A69E4DFA}" srcOrd="3" destOrd="0" presId="urn:microsoft.com/office/officeart/2005/8/layout/hList2"/>
    <dgm:cxn modelId="{9736A5A9-D0F9-4C4B-BBC5-D05F15C9D69E}" type="presParOf" srcId="{CF2F1F73-0319-460F-A746-74B2C90A87E9}" destId="{F987F469-4F95-4D7B-B05A-6D63F33DF86E}" srcOrd="4" destOrd="0" presId="urn:microsoft.com/office/officeart/2005/8/layout/hList2"/>
    <dgm:cxn modelId="{730B4FD3-7109-4964-B0B2-1E32FF1AF576}" type="presParOf" srcId="{F987F469-4F95-4D7B-B05A-6D63F33DF86E}" destId="{B63F6120-DBA3-4DB3-BF7C-B8AF890F46F0}" srcOrd="0" destOrd="0" presId="urn:microsoft.com/office/officeart/2005/8/layout/hList2"/>
    <dgm:cxn modelId="{7735CDCC-F73D-4177-BDE1-801F7B119279}" type="presParOf" srcId="{F987F469-4F95-4D7B-B05A-6D63F33DF86E}" destId="{F3A52D6A-BB84-4552-A5A1-E81D0A9FA4E8}" srcOrd="1" destOrd="0" presId="urn:microsoft.com/office/officeart/2005/8/layout/hList2"/>
    <dgm:cxn modelId="{C8147F2A-11F2-4729-8E15-E063C2BB22DA}" type="presParOf" srcId="{F987F469-4F95-4D7B-B05A-6D63F33DF86E}" destId="{77C1F913-E2BE-4429-A2B1-A460FABD3FF8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175B0F92-0E99-431C-B98D-409D4519B2A2}" type="doc">
      <dgm:prSet loTypeId="urn:microsoft.com/office/officeart/2005/8/layout/hList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ED3D5C5D-62F2-447D-B90F-F908A4188273}">
      <dgm:prSet phldrT="[Text]" custT="1"/>
      <dgm:spPr/>
      <dgm:t>
        <a:bodyPr/>
        <a:lstStyle/>
        <a:p>
          <a:r>
            <a:rPr lang="de-DE" sz="1800" b="1" dirty="0">
              <a:solidFill>
                <a:schemeClr val="bg2"/>
              </a:solidFill>
            </a:rPr>
            <a:t>Bedingungen</a:t>
          </a:r>
        </a:p>
      </dgm:t>
    </dgm:pt>
    <dgm:pt modelId="{A51DC6E9-09EA-487B-B7E6-50DF58504E95}" type="parTrans" cxnId="{071901FD-1683-44EC-B4C8-56421106E1DA}">
      <dgm:prSet/>
      <dgm:spPr/>
      <dgm:t>
        <a:bodyPr/>
        <a:lstStyle/>
        <a:p>
          <a:endParaRPr lang="de-DE"/>
        </a:p>
      </dgm:t>
    </dgm:pt>
    <dgm:pt modelId="{E4F25DA0-691F-45E3-AF52-AA54D958273D}" type="sibTrans" cxnId="{071901FD-1683-44EC-B4C8-56421106E1DA}">
      <dgm:prSet/>
      <dgm:spPr/>
      <dgm:t>
        <a:bodyPr/>
        <a:lstStyle/>
        <a:p>
          <a:endParaRPr lang="de-DE"/>
        </a:p>
      </dgm:t>
    </dgm:pt>
    <dgm:pt modelId="{73A28563-630B-4212-AADA-3618D4743636}">
      <dgm:prSet phldrT="[Text]" custT="1"/>
      <dgm:spPr/>
      <dgm:t>
        <a:bodyPr/>
        <a:lstStyle/>
        <a:p>
          <a:r>
            <a:rPr lang="de-DE" sz="1800" b="1" dirty="0">
              <a:solidFill>
                <a:schemeClr val="bg2"/>
              </a:solidFill>
            </a:rPr>
            <a:t>Inhalte</a:t>
          </a:r>
        </a:p>
      </dgm:t>
    </dgm:pt>
    <dgm:pt modelId="{95127D5B-AF3F-4F30-8BBB-9036CAE57CE8}" type="parTrans" cxnId="{C33E59DE-2196-446A-A6E0-B9C917198AAF}">
      <dgm:prSet/>
      <dgm:spPr/>
      <dgm:t>
        <a:bodyPr/>
        <a:lstStyle/>
        <a:p>
          <a:endParaRPr lang="de-DE"/>
        </a:p>
      </dgm:t>
    </dgm:pt>
    <dgm:pt modelId="{70534440-762E-4012-8158-B17E3942E946}" type="sibTrans" cxnId="{C33E59DE-2196-446A-A6E0-B9C917198AAF}">
      <dgm:prSet/>
      <dgm:spPr/>
      <dgm:t>
        <a:bodyPr/>
        <a:lstStyle/>
        <a:p>
          <a:endParaRPr lang="de-DE"/>
        </a:p>
      </dgm:t>
    </dgm:pt>
    <dgm:pt modelId="{D3377EA5-65B1-41E5-8733-B9CEB9643600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Ruhige Atmosphäre schaffen</a:t>
          </a:r>
        </a:p>
      </dgm:t>
    </dgm:pt>
    <dgm:pt modelId="{946EFE6B-50F0-4333-A52E-0888ED08938A}" type="parTrans" cxnId="{41533ADF-1B73-4AAB-95C8-86D4DBA803DC}">
      <dgm:prSet/>
      <dgm:spPr/>
      <dgm:t>
        <a:bodyPr/>
        <a:lstStyle/>
        <a:p>
          <a:endParaRPr lang="de-DE"/>
        </a:p>
      </dgm:t>
    </dgm:pt>
    <dgm:pt modelId="{7611E1E5-BFE5-4209-8992-419BF1FF5504}" type="sibTrans" cxnId="{41533ADF-1B73-4AAB-95C8-86D4DBA803DC}">
      <dgm:prSet/>
      <dgm:spPr/>
      <dgm:t>
        <a:bodyPr/>
        <a:lstStyle/>
        <a:p>
          <a:endParaRPr lang="de-DE"/>
        </a:p>
      </dgm:t>
    </dgm:pt>
    <dgm:pt modelId="{335E982B-121F-4622-A051-493E71E37168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4-Augen-Gespräch</a:t>
          </a:r>
        </a:p>
      </dgm:t>
    </dgm:pt>
    <dgm:pt modelId="{415F9D99-5B15-4426-BDD0-A85FD6691F47}" type="parTrans" cxnId="{4342DDAC-F771-4BC6-AC05-29A94AC4A4B9}">
      <dgm:prSet/>
      <dgm:spPr/>
      <dgm:t>
        <a:bodyPr/>
        <a:lstStyle/>
        <a:p>
          <a:endParaRPr lang="de-DE"/>
        </a:p>
      </dgm:t>
    </dgm:pt>
    <dgm:pt modelId="{14395648-E4C9-438C-ACA4-6BA2E05549F8}" type="sibTrans" cxnId="{4342DDAC-F771-4BC6-AC05-29A94AC4A4B9}">
      <dgm:prSet/>
      <dgm:spPr/>
      <dgm:t>
        <a:bodyPr/>
        <a:lstStyle/>
        <a:p>
          <a:endParaRPr lang="de-DE"/>
        </a:p>
      </dgm:t>
    </dgm:pt>
    <dgm:pt modelId="{ED95143F-BBEF-4774-B26F-8013EF3527D1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Kein Zeitdruck</a:t>
          </a:r>
        </a:p>
      </dgm:t>
    </dgm:pt>
    <dgm:pt modelId="{B35A45B4-311A-4F48-9A2B-911652649A97}" type="parTrans" cxnId="{C2507C6B-E05E-485A-8324-6C99A543C97D}">
      <dgm:prSet/>
      <dgm:spPr/>
      <dgm:t>
        <a:bodyPr/>
        <a:lstStyle/>
        <a:p>
          <a:endParaRPr lang="de-DE"/>
        </a:p>
      </dgm:t>
    </dgm:pt>
    <dgm:pt modelId="{8686ED34-56D1-4FD8-8B43-1B5FDE4A7D8A}" type="sibTrans" cxnId="{C2507C6B-E05E-485A-8324-6C99A543C97D}">
      <dgm:prSet/>
      <dgm:spPr/>
      <dgm:t>
        <a:bodyPr/>
        <a:lstStyle/>
        <a:p>
          <a:endParaRPr lang="de-DE"/>
        </a:p>
      </dgm:t>
    </dgm:pt>
    <dgm:pt modelId="{B127F4FE-7812-4538-9811-47BB0D96BB83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Raum vorbereiten (Getränk?)</a:t>
          </a:r>
        </a:p>
      </dgm:t>
    </dgm:pt>
    <dgm:pt modelId="{D30F9B46-02DF-44CF-B47B-1F32C60DD462}" type="parTrans" cxnId="{766DF769-D94E-4C82-847C-1032AA8FC25F}">
      <dgm:prSet/>
      <dgm:spPr/>
      <dgm:t>
        <a:bodyPr/>
        <a:lstStyle/>
        <a:p>
          <a:endParaRPr lang="de-DE"/>
        </a:p>
      </dgm:t>
    </dgm:pt>
    <dgm:pt modelId="{68988D89-9673-45C2-9F5F-4524017D6F5F}" type="sibTrans" cxnId="{766DF769-D94E-4C82-847C-1032AA8FC25F}">
      <dgm:prSet/>
      <dgm:spPr/>
      <dgm:t>
        <a:bodyPr/>
        <a:lstStyle/>
        <a:p>
          <a:endParaRPr lang="de-DE"/>
        </a:p>
      </dgm:t>
    </dgm:pt>
    <dgm:pt modelId="{11CEC282-B4D9-4FB5-9E55-3F9A0AF8740F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Max. 20 Minuten</a:t>
          </a:r>
        </a:p>
      </dgm:t>
    </dgm:pt>
    <dgm:pt modelId="{34AA61DB-8A59-4367-AC76-BB295BB91350}" type="parTrans" cxnId="{7DFAC917-2A04-4CCC-A9D0-A93839A64611}">
      <dgm:prSet/>
      <dgm:spPr/>
      <dgm:t>
        <a:bodyPr/>
        <a:lstStyle/>
        <a:p>
          <a:endParaRPr lang="de-DE"/>
        </a:p>
      </dgm:t>
    </dgm:pt>
    <dgm:pt modelId="{D0B39BC4-E998-4C62-992C-E2B086625744}" type="sibTrans" cxnId="{7DFAC917-2A04-4CCC-A9D0-A93839A64611}">
      <dgm:prSet/>
      <dgm:spPr/>
      <dgm:t>
        <a:bodyPr/>
        <a:lstStyle/>
        <a:p>
          <a:endParaRPr lang="de-DE"/>
        </a:p>
      </dgm:t>
    </dgm:pt>
    <dgm:pt modelId="{047629E5-9672-4499-BC1E-A8884F8B6C2C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Absprache /Abstimmung der gesetzten Ziele für diese Anleitungssituation – eigene Aufzeichnungen</a:t>
          </a:r>
        </a:p>
      </dgm:t>
    </dgm:pt>
    <dgm:pt modelId="{30CFFF03-3ED1-4255-9FEA-498C729C58C0}" type="parTrans" cxnId="{7144D562-4AED-48E1-8755-8830EAF6AE06}">
      <dgm:prSet/>
      <dgm:spPr/>
      <dgm:t>
        <a:bodyPr/>
        <a:lstStyle/>
        <a:p>
          <a:endParaRPr lang="de-DE"/>
        </a:p>
      </dgm:t>
    </dgm:pt>
    <dgm:pt modelId="{75C33538-B31A-4AD7-A292-1AFA98168150}" type="sibTrans" cxnId="{7144D562-4AED-48E1-8755-8830EAF6AE06}">
      <dgm:prSet/>
      <dgm:spPr/>
      <dgm:t>
        <a:bodyPr/>
        <a:lstStyle/>
        <a:p>
          <a:endParaRPr lang="de-DE"/>
        </a:p>
      </dgm:t>
    </dgm:pt>
    <dgm:pt modelId="{09977192-1F90-4A93-9F0C-4BC4AF8A676A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Ermittlung der Lernstands</a:t>
          </a:r>
        </a:p>
      </dgm:t>
    </dgm:pt>
    <dgm:pt modelId="{D17B1E0F-0D73-4FA3-9A60-E2F58F30E41C}" type="parTrans" cxnId="{7A3A2341-4B90-4E03-94E7-8F8A1A99763F}">
      <dgm:prSet/>
      <dgm:spPr/>
      <dgm:t>
        <a:bodyPr/>
        <a:lstStyle/>
        <a:p>
          <a:endParaRPr lang="de-DE"/>
        </a:p>
      </dgm:t>
    </dgm:pt>
    <dgm:pt modelId="{7FF101B4-A7B6-4E87-8025-838AFB13C449}" type="sibTrans" cxnId="{7A3A2341-4B90-4E03-94E7-8F8A1A99763F}">
      <dgm:prSet/>
      <dgm:spPr/>
      <dgm:t>
        <a:bodyPr/>
        <a:lstStyle/>
        <a:p>
          <a:endParaRPr lang="de-DE"/>
        </a:p>
      </dgm:t>
    </dgm:pt>
    <dgm:pt modelId="{193B9BE7-AED8-47A7-B923-12E9A563DDE1}">
      <dgm:prSet custT="1"/>
      <dgm:spPr/>
      <dgm:t>
        <a:bodyPr/>
        <a:lstStyle/>
        <a:p>
          <a:r>
            <a:rPr lang="de-DE" sz="1800" b="1" dirty="0">
              <a:solidFill>
                <a:schemeClr val="bg2"/>
              </a:solidFill>
            </a:rPr>
            <a:t>Kommunikation</a:t>
          </a:r>
        </a:p>
      </dgm:t>
    </dgm:pt>
    <dgm:pt modelId="{F756CCEF-2C49-4467-8192-FDF1E288E564}" type="parTrans" cxnId="{BCB68A89-8B63-4811-B3A6-6C36DAB0BCA3}">
      <dgm:prSet/>
      <dgm:spPr/>
      <dgm:t>
        <a:bodyPr/>
        <a:lstStyle/>
        <a:p>
          <a:endParaRPr lang="de-DE"/>
        </a:p>
      </dgm:t>
    </dgm:pt>
    <dgm:pt modelId="{C0B63140-3794-4D6B-8CC2-882C4210237E}" type="sibTrans" cxnId="{BCB68A89-8B63-4811-B3A6-6C36DAB0BCA3}">
      <dgm:prSet/>
      <dgm:spPr/>
      <dgm:t>
        <a:bodyPr/>
        <a:lstStyle/>
        <a:p>
          <a:endParaRPr lang="de-DE"/>
        </a:p>
      </dgm:t>
    </dgm:pt>
    <dgm:pt modelId="{887C18DD-6F2C-4AB2-A832-9BD45847E924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Bezugskontakt herstellen (Begrüßung, Offenheit, Freundlichkeit, Respekt)</a:t>
          </a:r>
        </a:p>
      </dgm:t>
    </dgm:pt>
    <dgm:pt modelId="{7FAF5905-79E6-4F00-9363-9FAFDC336A49}" type="parTrans" cxnId="{7F34A5F4-D870-41CF-84D5-7C56C4EA3D31}">
      <dgm:prSet/>
      <dgm:spPr/>
      <dgm:t>
        <a:bodyPr/>
        <a:lstStyle/>
        <a:p>
          <a:endParaRPr lang="de-DE"/>
        </a:p>
      </dgm:t>
    </dgm:pt>
    <dgm:pt modelId="{D43F4113-36D6-4947-8642-57DF697AFC9E}" type="sibTrans" cxnId="{7F34A5F4-D870-41CF-84D5-7C56C4EA3D31}">
      <dgm:prSet/>
      <dgm:spPr/>
      <dgm:t>
        <a:bodyPr/>
        <a:lstStyle/>
        <a:p>
          <a:endParaRPr lang="de-DE"/>
        </a:p>
      </dgm:t>
    </dgm:pt>
    <dgm:pt modelId="{8AB43B9F-492F-4304-8C5D-0784AC3B0B1B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Körpersprache beachten (eigene &amp; die der anzuleitenden Person)</a:t>
          </a:r>
        </a:p>
      </dgm:t>
    </dgm:pt>
    <dgm:pt modelId="{38235632-EC1E-4830-AEA6-666101D75254}" type="parTrans" cxnId="{8CD7397A-7653-4CC5-9F70-5545D3F82D4B}">
      <dgm:prSet/>
      <dgm:spPr/>
      <dgm:t>
        <a:bodyPr/>
        <a:lstStyle/>
        <a:p>
          <a:endParaRPr lang="de-DE"/>
        </a:p>
      </dgm:t>
    </dgm:pt>
    <dgm:pt modelId="{6B7C5675-0E6C-4EB6-B674-75624B9B7E6B}" type="sibTrans" cxnId="{8CD7397A-7653-4CC5-9F70-5545D3F82D4B}">
      <dgm:prSet/>
      <dgm:spPr/>
      <dgm:t>
        <a:bodyPr/>
        <a:lstStyle/>
        <a:p>
          <a:endParaRPr lang="de-DE"/>
        </a:p>
      </dgm:t>
    </dgm:pt>
    <dgm:pt modelId="{24DC6ACC-F244-4DC4-A0EA-FB8EBF4E9FEE}">
      <dgm:prSet phldrT="[Text]"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Struktur</a:t>
          </a:r>
        </a:p>
      </dgm:t>
    </dgm:pt>
    <dgm:pt modelId="{6552EC46-CEF2-45A8-9BA3-378762DCBC79}" type="parTrans" cxnId="{A992A595-4B31-4543-BC39-A23F8E13C68D}">
      <dgm:prSet/>
      <dgm:spPr/>
      <dgm:t>
        <a:bodyPr/>
        <a:lstStyle/>
        <a:p>
          <a:endParaRPr lang="de-DE"/>
        </a:p>
      </dgm:t>
    </dgm:pt>
    <dgm:pt modelId="{A1F80404-01F4-4042-91E2-1E86B67A0C3D}" type="sibTrans" cxnId="{A992A595-4B31-4543-BC39-A23F8E13C68D}">
      <dgm:prSet/>
      <dgm:spPr/>
      <dgm:t>
        <a:bodyPr/>
        <a:lstStyle/>
        <a:p>
          <a:endParaRPr lang="de-DE"/>
        </a:p>
      </dgm:t>
    </dgm:pt>
    <dgm:pt modelId="{F7A12529-3CED-4409-88B4-41440175BF80}">
      <dgm:prSet phldrT="[Text]"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Zeit &amp; Ort wählen</a:t>
          </a:r>
        </a:p>
      </dgm:t>
    </dgm:pt>
    <dgm:pt modelId="{F52F03B1-1D8C-45A1-BFAC-4FA67915D7F0}" type="parTrans" cxnId="{1FC3E415-9C20-438B-A58C-6CD5FC4DBE71}">
      <dgm:prSet/>
      <dgm:spPr/>
      <dgm:t>
        <a:bodyPr/>
        <a:lstStyle/>
        <a:p>
          <a:endParaRPr lang="de-DE"/>
        </a:p>
      </dgm:t>
    </dgm:pt>
    <dgm:pt modelId="{1633212C-4D10-4317-9B84-DA2F39CB62C4}" type="sibTrans" cxnId="{1FC3E415-9C20-438B-A58C-6CD5FC4DBE71}">
      <dgm:prSet/>
      <dgm:spPr/>
      <dgm:t>
        <a:bodyPr/>
        <a:lstStyle/>
        <a:p>
          <a:endParaRPr lang="de-DE"/>
        </a:p>
      </dgm:t>
    </dgm:pt>
    <dgm:pt modelId="{40ABD7CE-2385-41CF-92C0-4E3D56B9A006}">
      <dgm:prSet phldrT="[Text]"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Besetzung &amp; Dienstplan beachten</a:t>
          </a:r>
        </a:p>
      </dgm:t>
    </dgm:pt>
    <dgm:pt modelId="{3785C1A4-B01D-4006-9734-8812CC880858}" type="parTrans" cxnId="{18ED10C2-41CD-40DD-A390-3936D01C8EC2}">
      <dgm:prSet/>
      <dgm:spPr/>
      <dgm:t>
        <a:bodyPr/>
        <a:lstStyle/>
        <a:p>
          <a:endParaRPr lang="de-DE"/>
        </a:p>
      </dgm:t>
    </dgm:pt>
    <dgm:pt modelId="{A2564509-6390-492F-AA44-8B49A6853037}" type="sibTrans" cxnId="{18ED10C2-41CD-40DD-A390-3936D01C8EC2}">
      <dgm:prSet/>
      <dgm:spPr/>
      <dgm:t>
        <a:bodyPr/>
        <a:lstStyle/>
        <a:p>
          <a:endParaRPr lang="de-DE"/>
        </a:p>
      </dgm:t>
    </dgm:pt>
    <dgm:pt modelId="{17D66591-66D1-49EC-8139-92B4F2305FCF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Ziele abgleichen</a:t>
          </a:r>
        </a:p>
      </dgm:t>
    </dgm:pt>
    <dgm:pt modelId="{08C19CF2-816D-4ED0-824C-FBE4CFB4DC46}" type="parTrans" cxnId="{0A92E4C9-0D78-4602-865D-917B47ED2FA2}">
      <dgm:prSet/>
      <dgm:spPr/>
      <dgm:t>
        <a:bodyPr/>
        <a:lstStyle/>
        <a:p>
          <a:endParaRPr lang="de-DE"/>
        </a:p>
      </dgm:t>
    </dgm:pt>
    <dgm:pt modelId="{4E05F030-F3A1-4E71-92AE-A1C5DE7E40CA}" type="sibTrans" cxnId="{0A92E4C9-0D78-4602-865D-917B47ED2FA2}">
      <dgm:prSet/>
      <dgm:spPr/>
      <dgm:t>
        <a:bodyPr/>
        <a:lstStyle/>
        <a:p>
          <a:endParaRPr lang="de-DE"/>
        </a:p>
      </dgm:t>
    </dgm:pt>
    <dgm:pt modelId="{1183769B-5C10-496D-A1B0-ABDF952CF133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Anleitungsmodell vorstellen und besprechen</a:t>
          </a:r>
        </a:p>
      </dgm:t>
    </dgm:pt>
    <dgm:pt modelId="{EF89D8B0-C8F3-4D3B-B857-BA3698D3A78C}" type="parTrans" cxnId="{D7E8A785-78B7-4FEB-8033-F4D51A26BC1C}">
      <dgm:prSet/>
      <dgm:spPr/>
      <dgm:t>
        <a:bodyPr/>
        <a:lstStyle/>
        <a:p>
          <a:endParaRPr lang="de-DE"/>
        </a:p>
      </dgm:t>
    </dgm:pt>
    <dgm:pt modelId="{5C39769E-77C5-46AA-93C5-B013C284FDFF}" type="sibTrans" cxnId="{D7E8A785-78B7-4FEB-8033-F4D51A26BC1C}">
      <dgm:prSet/>
      <dgm:spPr/>
      <dgm:t>
        <a:bodyPr/>
        <a:lstStyle/>
        <a:p>
          <a:endParaRPr lang="de-DE"/>
        </a:p>
      </dgm:t>
    </dgm:pt>
    <dgm:pt modelId="{59C5ABA6-35AC-485E-B063-DE6DD4421800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Offene Fragen klären</a:t>
          </a:r>
        </a:p>
      </dgm:t>
    </dgm:pt>
    <dgm:pt modelId="{F6894826-144B-49C5-8F5F-733C036A4089}" type="parTrans" cxnId="{5AB6A83E-50AE-442C-A80A-9F09E8DBC26A}">
      <dgm:prSet/>
      <dgm:spPr/>
      <dgm:t>
        <a:bodyPr/>
        <a:lstStyle/>
        <a:p>
          <a:endParaRPr lang="de-DE"/>
        </a:p>
      </dgm:t>
    </dgm:pt>
    <dgm:pt modelId="{1683040D-1B2E-485E-9C6D-5531483C3CB2}" type="sibTrans" cxnId="{5AB6A83E-50AE-442C-A80A-9F09E8DBC26A}">
      <dgm:prSet/>
      <dgm:spPr/>
      <dgm:t>
        <a:bodyPr/>
        <a:lstStyle/>
        <a:p>
          <a:endParaRPr lang="de-DE"/>
        </a:p>
      </dgm:t>
    </dgm:pt>
    <dgm:pt modelId="{5F30C8C7-410C-4E4C-8892-A8D272808CCB}">
      <dgm:prSet custT="1"/>
      <dgm:spPr/>
      <dgm:t>
        <a:bodyPr/>
        <a:lstStyle/>
        <a:p>
          <a:r>
            <a:rPr lang="de-DE" sz="1400" dirty="0">
              <a:solidFill>
                <a:schemeClr val="bg2"/>
              </a:solidFill>
            </a:rPr>
            <a:t>Verhaltensabsprachen, ggf. Notsignal vereinbaren</a:t>
          </a:r>
        </a:p>
      </dgm:t>
    </dgm:pt>
    <dgm:pt modelId="{12482673-6522-4F22-A411-FD31D6429418}" type="parTrans" cxnId="{EE4952C9-8C26-42E1-9335-7FF4DEACCE26}">
      <dgm:prSet/>
      <dgm:spPr/>
      <dgm:t>
        <a:bodyPr/>
        <a:lstStyle/>
        <a:p>
          <a:endParaRPr lang="de-DE"/>
        </a:p>
      </dgm:t>
    </dgm:pt>
    <dgm:pt modelId="{E9450A24-A1B3-4D45-9091-13601B579E00}" type="sibTrans" cxnId="{EE4952C9-8C26-42E1-9335-7FF4DEACCE26}">
      <dgm:prSet/>
      <dgm:spPr/>
      <dgm:t>
        <a:bodyPr/>
        <a:lstStyle/>
        <a:p>
          <a:endParaRPr lang="de-DE"/>
        </a:p>
      </dgm:t>
    </dgm:pt>
    <dgm:pt modelId="{CF2F1F73-0319-460F-A746-74B2C90A87E9}" type="pres">
      <dgm:prSet presAssocID="{175B0F92-0E99-431C-B98D-409D4519B2A2}" presName="linearFlow" presStyleCnt="0">
        <dgm:presLayoutVars>
          <dgm:dir/>
          <dgm:animLvl val="lvl"/>
          <dgm:resizeHandles/>
        </dgm:presLayoutVars>
      </dgm:prSet>
      <dgm:spPr/>
    </dgm:pt>
    <dgm:pt modelId="{35790C0E-5F2B-46A0-B9AE-ECB25DEA4AD5}" type="pres">
      <dgm:prSet presAssocID="{ED3D5C5D-62F2-447D-B90F-F908A4188273}" presName="compositeNode" presStyleCnt="0">
        <dgm:presLayoutVars>
          <dgm:bulletEnabled val="1"/>
        </dgm:presLayoutVars>
      </dgm:prSet>
      <dgm:spPr/>
    </dgm:pt>
    <dgm:pt modelId="{A3F0A306-227F-4CEE-976F-19EE2D23D21E}" type="pres">
      <dgm:prSet presAssocID="{ED3D5C5D-62F2-447D-B90F-F908A4188273}" presName="image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abelle"/>
        </a:ext>
      </dgm:extLst>
    </dgm:pt>
    <dgm:pt modelId="{DA298790-E298-4A31-A331-A25CE00E3968}" type="pres">
      <dgm:prSet presAssocID="{ED3D5C5D-62F2-447D-B90F-F908A4188273}" presName="childNode" presStyleLbl="node1" presStyleIdx="0" presStyleCnt="3">
        <dgm:presLayoutVars>
          <dgm:bulletEnabled val="1"/>
        </dgm:presLayoutVars>
      </dgm:prSet>
      <dgm:spPr/>
    </dgm:pt>
    <dgm:pt modelId="{EA306BC8-C901-47D8-B216-3787E18A332B}" type="pres">
      <dgm:prSet presAssocID="{ED3D5C5D-62F2-447D-B90F-F908A4188273}" presName="parentNode" presStyleLbl="revTx" presStyleIdx="0" presStyleCnt="3">
        <dgm:presLayoutVars>
          <dgm:chMax val="0"/>
          <dgm:bulletEnabled val="1"/>
        </dgm:presLayoutVars>
      </dgm:prSet>
      <dgm:spPr/>
    </dgm:pt>
    <dgm:pt modelId="{B2E27F8D-FBAE-4180-BF0D-8B359D32C966}" type="pres">
      <dgm:prSet presAssocID="{E4F25DA0-691F-45E3-AF52-AA54D958273D}" presName="sibTrans" presStyleCnt="0"/>
      <dgm:spPr/>
    </dgm:pt>
    <dgm:pt modelId="{68077274-8BDA-4BCD-A5CD-37C4DC27D400}" type="pres">
      <dgm:prSet presAssocID="{73A28563-630B-4212-AADA-3618D4743636}" presName="compositeNode" presStyleCnt="0">
        <dgm:presLayoutVars>
          <dgm:bulletEnabled val="1"/>
        </dgm:presLayoutVars>
      </dgm:prSet>
      <dgm:spPr/>
    </dgm:pt>
    <dgm:pt modelId="{62433E2D-66E4-4ABC-A6E5-30009C21DB69}" type="pres">
      <dgm:prSet presAssocID="{73A28563-630B-4212-AADA-3618D4743636}" presName="image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eöffnetes Buch"/>
        </a:ext>
      </dgm:extLst>
    </dgm:pt>
    <dgm:pt modelId="{E2069983-7782-4A15-BC96-411534486F36}" type="pres">
      <dgm:prSet presAssocID="{73A28563-630B-4212-AADA-3618D4743636}" presName="childNode" presStyleLbl="node1" presStyleIdx="1" presStyleCnt="3">
        <dgm:presLayoutVars>
          <dgm:bulletEnabled val="1"/>
        </dgm:presLayoutVars>
      </dgm:prSet>
      <dgm:spPr/>
    </dgm:pt>
    <dgm:pt modelId="{7A24BE29-B051-4F7A-9776-6833F03D0B47}" type="pres">
      <dgm:prSet presAssocID="{73A28563-630B-4212-AADA-3618D4743636}" presName="parentNode" presStyleLbl="revTx" presStyleIdx="1" presStyleCnt="3">
        <dgm:presLayoutVars>
          <dgm:chMax val="0"/>
          <dgm:bulletEnabled val="1"/>
        </dgm:presLayoutVars>
      </dgm:prSet>
      <dgm:spPr/>
    </dgm:pt>
    <dgm:pt modelId="{BC510C0D-F94E-4EF8-AFF2-D649A69E4DFA}" type="pres">
      <dgm:prSet presAssocID="{70534440-762E-4012-8158-B17E3942E946}" presName="sibTrans" presStyleCnt="0"/>
      <dgm:spPr/>
    </dgm:pt>
    <dgm:pt modelId="{F987F469-4F95-4D7B-B05A-6D63F33DF86E}" type="pres">
      <dgm:prSet presAssocID="{193B9BE7-AED8-47A7-B923-12E9A563DDE1}" presName="compositeNode" presStyleCnt="0">
        <dgm:presLayoutVars>
          <dgm:bulletEnabled val="1"/>
        </dgm:presLayoutVars>
      </dgm:prSet>
      <dgm:spPr/>
    </dgm:pt>
    <dgm:pt modelId="{B63F6120-DBA3-4DB3-BF7C-B8AF890F46F0}" type="pres">
      <dgm:prSet presAssocID="{193B9BE7-AED8-47A7-B923-12E9A563DDE1}" presName="image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rketing"/>
        </a:ext>
      </dgm:extLst>
    </dgm:pt>
    <dgm:pt modelId="{F3A52D6A-BB84-4552-A5A1-E81D0A9FA4E8}" type="pres">
      <dgm:prSet presAssocID="{193B9BE7-AED8-47A7-B923-12E9A563DDE1}" presName="childNode" presStyleLbl="node1" presStyleIdx="2" presStyleCnt="3">
        <dgm:presLayoutVars>
          <dgm:bulletEnabled val="1"/>
        </dgm:presLayoutVars>
      </dgm:prSet>
      <dgm:spPr/>
    </dgm:pt>
    <dgm:pt modelId="{77C1F913-E2BE-4429-A2B1-A460FABD3FF8}" type="pres">
      <dgm:prSet presAssocID="{193B9BE7-AED8-47A7-B923-12E9A563DDE1}" presName="parentNode" presStyleLbl="revTx" presStyleIdx="2" presStyleCnt="3">
        <dgm:presLayoutVars>
          <dgm:chMax val="0"/>
          <dgm:bulletEnabled val="1"/>
        </dgm:presLayoutVars>
      </dgm:prSet>
      <dgm:spPr/>
    </dgm:pt>
  </dgm:ptLst>
  <dgm:cxnLst>
    <dgm:cxn modelId="{8A573200-E7B1-4538-B98D-F0591F0294A0}" type="presOf" srcId="{09977192-1F90-4A93-9F0C-4BC4AF8A676A}" destId="{E2069983-7782-4A15-BC96-411534486F36}" srcOrd="0" destOrd="3" presId="urn:microsoft.com/office/officeart/2005/8/layout/hList2"/>
    <dgm:cxn modelId="{FA83210A-9C68-4664-8C69-26DBA2FCC583}" type="presOf" srcId="{D3377EA5-65B1-41E5-8733-B9CEB9643600}" destId="{DA298790-E298-4A31-A331-A25CE00E3968}" srcOrd="0" destOrd="2" presId="urn:microsoft.com/office/officeart/2005/8/layout/hList2"/>
    <dgm:cxn modelId="{852CAC0A-3108-4012-B9DF-7812477C88ED}" type="presOf" srcId="{59C5ABA6-35AC-485E-B063-DE6DD4421800}" destId="{E2069983-7782-4A15-BC96-411534486F36}" srcOrd="0" destOrd="6" presId="urn:microsoft.com/office/officeart/2005/8/layout/hList2"/>
    <dgm:cxn modelId="{F856F20B-A09A-43C6-A396-C149032EA2E7}" type="presOf" srcId="{24DC6ACC-F244-4DC4-A0EA-FB8EBF4E9FEE}" destId="{E2069983-7782-4A15-BC96-411534486F36}" srcOrd="0" destOrd="0" presId="urn:microsoft.com/office/officeart/2005/8/layout/hList2"/>
    <dgm:cxn modelId="{1FC3E415-9C20-438B-A58C-6CD5FC4DBE71}" srcId="{ED3D5C5D-62F2-447D-B90F-F908A4188273}" destId="{F7A12529-3CED-4409-88B4-41440175BF80}" srcOrd="0" destOrd="0" parTransId="{F52F03B1-1D8C-45A1-BFAC-4FA67915D7F0}" sibTransId="{1633212C-4D10-4317-9B84-DA2F39CB62C4}"/>
    <dgm:cxn modelId="{8292F915-75ED-4097-A896-0463FF769EB7}" type="presOf" srcId="{ED95143F-BBEF-4774-B26F-8013EF3527D1}" destId="{DA298790-E298-4A31-A331-A25CE00E3968}" srcOrd="0" destOrd="6" presId="urn:microsoft.com/office/officeart/2005/8/layout/hList2"/>
    <dgm:cxn modelId="{7DFAC917-2A04-4CCC-A9D0-A93839A64611}" srcId="{ED3D5C5D-62F2-447D-B90F-F908A4188273}" destId="{11CEC282-B4D9-4FB5-9E55-3F9A0AF8740F}" srcOrd="5" destOrd="0" parTransId="{34AA61DB-8A59-4367-AC76-BB295BB91350}" sibTransId="{D0B39BC4-E998-4C62-992C-E2B086625744}"/>
    <dgm:cxn modelId="{F47F1F1A-7D89-41C3-9E42-D0282452E1D0}" type="presOf" srcId="{17D66591-66D1-49EC-8139-92B4F2305FCF}" destId="{E2069983-7782-4A15-BC96-411534486F36}" srcOrd="0" destOrd="2" presId="urn:microsoft.com/office/officeart/2005/8/layout/hList2"/>
    <dgm:cxn modelId="{1B52EF20-66BC-4DF3-A8D2-C5D130642C06}" type="presOf" srcId="{887C18DD-6F2C-4AB2-A832-9BD45847E924}" destId="{F3A52D6A-BB84-4552-A5A1-E81D0A9FA4E8}" srcOrd="0" destOrd="0" presId="urn:microsoft.com/office/officeart/2005/8/layout/hList2"/>
    <dgm:cxn modelId="{5AB6A83E-50AE-442C-A80A-9F09E8DBC26A}" srcId="{73A28563-630B-4212-AADA-3618D4743636}" destId="{59C5ABA6-35AC-485E-B063-DE6DD4421800}" srcOrd="6" destOrd="0" parTransId="{F6894826-144B-49C5-8F5F-733C036A4089}" sibTransId="{1683040D-1B2E-485E-9C6D-5531483C3CB2}"/>
    <dgm:cxn modelId="{3E6F305B-0104-43C3-9616-CA7BCE6AFBAB}" type="presOf" srcId="{047629E5-9672-4499-BC1E-A8884F8B6C2C}" destId="{E2069983-7782-4A15-BC96-411534486F36}" srcOrd="0" destOrd="1" presId="urn:microsoft.com/office/officeart/2005/8/layout/hList2"/>
    <dgm:cxn modelId="{7A3A2341-4B90-4E03-94E7-8F8A1A99763F}" srcId="{73A28563-630B-4212-AADA-3618D4743636}" destId="{09977192-1F90-4A93-9F0C-4BC4AF8A676A}" srcOrd="3" destOrd="0" parTransId="{D17B1E0F-0D73-4FA3-9A60-E2F58F30E41C}" sibTransId="{7FF101B4-A7B6-4E87-8025-838AFB13C449}"/>
    <dgm:cxn modelId="{7144D562-4AED-48E1-8755-8830EAF6AE06}" srcId="{73A28563-630B-4212-AADA-3618D4743636}" destId="{047629E5-9672-4499-BC1E-A8884F8B6C2C}" srcOrd="1" destOrd="0" parTransId="{30CFFF03-3ED1-4255-9FEA-498C729C58C0}" sibTransId="{75C33538-B31A-4AD7-A292-1AFA98168150}"/>
    <dgm:cxn modelId="{766DF769-D94E-4C82-847C-1032AA8FC25F}" srcId="{ED3D5C5D-62F2-447D-B90F-F908A4188273}" destId="{B127F4FE-7812-4538-9811-47BB0D96BB83}" srcOrd="3" destOrd="0" parTransId="{D30F9B46-02DF-44CF-B47B-1F32C60DD462}" sibTransId="{68988D89-9673-45C2-9F5F-4524017D6F5F}"/>
    <dgm:cxn modelId="{C2507C6B-E05E-485A-8324-6C99A543C97D}" srcId="{ED3D5C5D-62F2-447D-B90F-F908A4188273}" destId="{ED95143F-BBEF-4774-B26F-8013EF3527D1}" srcOrd="6" destOrd="0" parTransId="{B35A45B4-311A-4F48-9A2B-911652649A97}" sibTransId="{8686ED34-56D1-4FD8-8B43-1B5FDE4A7D8A}"/>
    <dgm:cxn modelId="{3129DA4B-A4FB-428B-95F7-F4D964DB126D}" type="presOf" srcId="{73A28563-630B-4212-AADA-3618D4743636}" destId="{7A24BE29-B051-4F7A-9776-6833F03D0B47}" srcOrd="0" destOrd="0" presId="urn:microsoft.com/office/officeart/2005/8/layout/hList2"/>
    <dgm:cxn modelId="{47859975-F243-4795-AB58-9A8FA33F6FD5}" type="presOf" srcId="{11CEC282-B4D9-4FB5-9E55-3F9A0AF8740F}" destId="{DA298790-E298-4A31-A331-A25CE00E3968}" srcOrd="0" destOrd="5" presId="urn:microsoft.com/office/officeart/2005/8/layout/hList2"/>
    <dgm:cxn modelId="{9C88D656-1789-4838-ADA8-92347DDB4593}" type="presOf" srcId="{ED3D5C5D-62F2-447D-B90F-F908A4188273}" destId="{EA306BC8-C901-47D8-B216-3787E18A332B}" srcOrd="0" destOrd="0" presId="urn:microsoft.com/office/officeart/2005/8/layout/hList2"/>
    <dgm:cxn modelId="{8CD7397A-7653-4CC5-9F70-5545D3F82D4B}" srcId="{193B9BE7-AED8-47A7-B923-12E9A563DDE1}" destId="{8AB43B9F-492F-4304-8C5D-0784AC3B0B1B}" srcOrd="1" destOrd="0" parTransId="{38235632-EC1E-4830-AEA6-666101D75254}" sibTransId="{6B7C5675-0E6C-4EB6-B674-75624B9B7E6B}"/>
    <dgm:cxn modelId="{D7E8A785-78B7-4FEB-8033-F4D51A26BC1C}" srcId="{73A28563-630B-4212-AADA-3618D4743636}" destId="{1183769B-5C10-496D-A1B0-ABDF952CF133}" srcOrd="5" destOrd="0" parTransId="{EF89D8B0-C8F3-4D3B-B857-BA3698D3A78C}" sibTransId="{5C39769E-77C5-46AA-93C5-B013C284FDFF}"/>
    <dgm:cxn modelId="{BCB68A89-8B63-4811-B3A6-6C36DAB0BCA3}" srcId="{175B0F92-0E99-431C-B98D-409D4519B2A2}" destId="{193B9BE7-AED8-47A7-B923-12E9A563DDE1}" srcOrd="2" destOrd="0" parTransId="{F756CCEF-2C49-4467-8192-FDF1E288E564}" sibTransId="{C0B63140-3794-4D6B-8CC2-882C4210237E}"/>
    <dgm:cxn modelId="{CBA6B08E-8969-40B2-AB74-CCD3349F4CFB}" type="presOf" srcId="{1183769B-5C10-496D-A1B0-ABDF952CF133}" destId="{E2069983-7782-4A15-BC96-411534486F36}" srcOrd="0" destOrd="5" presId="urn:microsoft.com/office/officeart/2005/8/layout/hList2"/>
    <dgm:cxn modelId="{A992A595-4B31-4543-BC39-A23F8E13C68D}" srcId="{73A28563-630B-4212-AADA-3618D4743636}" destId="{24DC6ACC-F244-4DC4-A0EA-FB8EBF4E9FEE}" srcOrd="0" destOrd="0" parTransId="{6552EC46-CEF2-45A8-9BA3-378762DCBC79}" sibTransId="{A1F80404-01F4-4042-91E2-1E86B67A0C3D}"/>
    <dgm:cxn modelId="{4342DDAC-F771-4BC6-AC05-29A94AC4A4B9}" srcId="{ED3D5C5D-62F2-447D-B90F-F908A4188273}" destId="{335E982B-121F-4622-A051-493E71E37168}" srcOrd="4" destOrd="0" parTransId="{415F9D99-5B15-4426-BDD0-A85FD6691F47}" sibTransId="{14395648-E4C9-438C-ACA4-6BA2E05549F8}"/>
    <dgm:cxn modelId="{98446EB2-A56E-4952-A867-2D7BA295DEED}" type="presOf" srcId="{F7A12529-3CED-4409-88B4-41440175BF80}" destId="{DA298790-E298-4A31-A331-A25CE00E3968}" srcOrd="0" destOrd="0" presId="urn:microsoft.com/office/officeart/2005/8/layout/hList2"/>
    <dgm:cxn modelId="{75E761B7-A440-41C9-97A4-8BF1C083E64A}" type="presOf" srcId="{335E982B-121F-4622-A051-493E71E37168}" destId="{DA298790-E298-4A31-A331-A25CE00E3968}" srcOrd="0" destOrd="4" presId="urn:microsoft.com/office/officeart/2005/8/layout/hList2"/>
    <dgm:cxn modelId="{3595A1B9-CFEE-4337-859F-417C123B9087}" type="presOf" srcId="{193B9BE7-AED8-47A7-B923-12E9A563DDE1}" destId="{77C1F913-E2BE-4429-A2B1-A460FABD3FF8}" srcOrd="0" destOrd="0" presId="urn:microsoft.com/office/officeart/2005/8/layout/hList2"/>
    <dgm:cxn modelId="{64E7B1B9-26B0-49FB-A394-704330042CD7}" type="presOf" srcId="{8AB43B9F-492F-4304-8C5D-0784AC3B0B1B}" destId="{F3A52D6A-BB84-4552-A5A1-E81D0A9FA4E8}" srcOrd="0" destOrd="1" presId="urn:microsoft.com/office/officeart/2005/8/layout/hList2"/>
    <dgm:cxn modelId="{18ED10C2-41CD-40DD-A390-3936D01C8EC2}" srcId="{ED3D5C5D-62F2-447D-B90F-F908A4188273}" destId="{40ABD7CE-2385-41CF-92C0-4E3D56B9A006}" srcOrd="1" destOrd="0" parTransId="{3785C1A4-B01D-4006-9734-8812CC880858}" sibTransId="{A2564509-6390-492F-AA44-8B49A6853037}"/>
    <dgm:cxn modelId="{EE4952C9-8C26-42E1-9335-7FF4DEACCE26}" srcId="{73A28563-630B-4212-AADA-3618D4743636}" destId="{5F30C8C7-410C-4E4C-8892-A8D272808CCB}" srcOrd="4" destOrd="0" parTransId="{12482673-6522-4F22-A411-FD31D6429418}" sibTransId="{E9450A24-A1B3-4D45-9091-13601B579E00}"/>
    <dgm:cxn modelId="{0A92E4C9-0D78-4602-865D-917B47ED2FA2}" srcId="{73A28563-630B-4212-AADA-3618D4743636}" destId="{17D66591-66D1-49EC-8139-92B4F2305FCF}" srcOrd="2" destOrd="0" parTransId="{08C19CF2-816D-4ED0-824C-FBE4CFB4DC46}" sibTransId="{4E05F030-F3A1-4E71-92AE-A1C5DE7E40CA}"/>
    <dgm:cxn modelId="{15D865DC-7D24-4429-BABC-FF5428E8CC77}" type="presOf" srcId="{5F30C8C7-410C-4E4C-8892-A8D272808CCB}" destId="{E2069983-7782-4A15-BC96-411534486F36}" srcOrd="0" destOrd="4" presId="urn:microsoft.com/office/officeart/2005/8/layout/hList2"/>
    <dgm:cxn modelId="{0991CFDD-9614-47D1-BC20-5FB319785225}" type="presOf" srcId="{175B0F92-0E99-431C-B98D-409D4519B2A2}" destId="{CF2F1F73-0319-460F-A746-74B2C90A87E9}" srcOrd="0" destOrd="0" presId="urn:microsoft.com/office/officeart/2005/8/layout/hList2"/>
    <dgm:cxn modelId="{C33E59DE-2196-446A-A6E0-B9C917198AAF}" srcId="{175B0F92-0E99-431C-B98D-409D4519B2A2}" destId="{73A28563-630B-4212-AADA-3618D4743636}" srcOrd="1" destOrd="0" parTransId="{95127D5B-AF3F-4F30-8BBB-9036CAE57CE8}" sibTransId="{70534440-762E-4012-8158-B17E3942E946}"/>
    <dgm:cxn modelId="{41533ADF-1B73-4AAB-95C8-86D4DBA803DC}" srcId="{ED3D5C5D-62F2-447D-B90F-F908A4188273}" destId="{D3377EA5-65B1-41E5-8733-B9CEB9643600}" srcOrd="2" destOrd="0" parTransId="{946EFE6B-50F0-4333-A52E-0888ED08938A}" sibTransId="{7611E1E5-BFE5-4209-8992-419BF1FF5504}"/>
    <dgm:cxn modelId="{7C7D43E3-BC76-4EF4-B5B8-3111EC439E30}" type="presOf" srcId="{40ABD7CE-2385-41CF-92C0-4E3D56B9A006}" destId="{DA298790-E298-4A31-A331-A25CE00E3968}" srcOrd="0" destOrd="1" presId="urn:microsoft.com/office/officeart/2005/8/layout/hList2"/>
    <dgm:cxn modelId="{733E03E9-AFCE-4740-83C0-5C938FCA6F40}" type="presOf" srcId="{B127F4FE-7812-4538-9811-47BB0D96BB83}" destId="{DA298790-E298-4A31-A331-A25CE00E3968}" srcOrd="0" destOrd="3" presId="urn:microsoft.com/office/officeart/2005/8/layout/hList2"/>
    <dgm:cxn modelId="{7F34A5F4-D870-41CF-84D5-7C56C4EA3D31}" srcId="{193B9BE7-AED8-47A7-B923-12E9A563DDE1}" destId="{887C18DD-6F2C-4AB2-A832-9BD45847E924}" srcOrd="0" destOrd="0" parTransId="{7FAF5905-79E6-4F00-9363-9FAFDC336A49}" sibTransId="{D43F4113-36D6-4947-8642-57DF697AFC9E}"/>
    <dgm:cxn modelId="{071901FD-1683-44EC-B4C8-56421106E1DA}" srcId="{175B0F92-0E99-431C-B98D-409D4519B2A2}" destId="{ED3D5C5D-62F2-447D-B90F-F908A4188273}" srcOrd="0" destOrd="0" parTransId="{A51DC6E9-09EA-487B-B7E6-50DF58504E95}" sibTransId="{E4F25DA0-691F-45E3-AF52-AA54D958273D}"/>
    <dgm:cxn modelId="{D464C71D-46E6-441C-99E1-AE12C140B8BB}" type="presParOf" srcId="{CF2F1F73-0319-460F-A746-74B2C90A87E9}" destId="{35790C0E-5F2B-46A0-B9AE-ECB25DEA4AD5}" srcOrd="0" destOrd="0" presId="urn:microsoft.com/office/officeart/2005/8/layout/hList2"/>
    <dgm:cxn modelId="{2D9BBC38-5AEE-46DD-823E-BB7147CFE584}" type="presParOf" srcId="{35790C0E-5F2B-46A0-B9AE-ECB25DEA4AD5}" destId="{A3F0A306-227F-4CEE-976F-19EE2D23D21E}" srcOrd="0" destOrd="0" presId="urn:microsoft.com/office/officeart/2005/8/layout/hList2"/>
    <dgm:cxn modelId="{AB48B220-7811-46FC-9A96-9A94D947C8F3}" type="presParOf" srcId="{35790C0E-5F2B-46A0-B9AE-ECB25DEA4AD5}" destId="{DA298790-E298-4A31-A331-A25CE00E3968}" srcOrd="1" destOrd="0" presId="urn:microsoft.com/office/officeart/2005/8/layout/hList2"/>
    <dgm:cxn modelId="{EC7EBDF0-8473-40A0-8AC9-F77697279B75}" type="presParOf" srcId="{35790C0E-5F2B-46A0-B9AE-ECB25DEA4AD5}" destId="{EA306BC8-C901-47D8-B216-3787E18A332B}" srcOrd="2" destOrd="0" presId="urn:microsoft.com/office/officeart/2005/8/layout/hList2"/>
    <dgm:cxn modelId="{D37B57B5-86B0-421A-AD26-01ED6C676724}" type="presParOf" srcId="{CF2F1F73-0319-460F-A746-74B2C90A87E9}" destId="{B2E27F8D-FBAE-4180-BF0D-8B359D32C966}" srcOrd="1" destOrd="0" presId="urn:microsoft.com/office/officeart/2005/8/layout/hList2"/>
    <dgm:cxn modelId="{090DC03A-CEB7-4A88-89D5-DEC1BE12700F}" type="presParOf" srcId="{CF2F1F73-0319-460F-A746-74B2C90A87E9}" destId="{68077274-8BDA-4BCD-A5CD-37C4DC27D400}" srcOrd="2" destOrd="0" presId="urn:microsoft.com/office/officeart/2005/8/layout/hList2"/>
    <dgm:cxn modelId="{CB531F48-77A9-40E4-9657-4209612530AC}" type="presParOf" srcId="{68077274-8BDA-4BCD-A5CD-37C4DC27D400}" destId="{62433E2D-66E4-4ABC-A6E5-30009C21DB69}" srcOrd="0" destOrd="0" presId="urn:microsoft.com/office/officeart/2005/8/layout/hList2"/>
    <dgm:cxn modelId="{B8C3615F-B0CA-4647-8BA5-BE940CB200FC}" type="presParOf" srcId="{68077274-8BDA-4BCD-A5CD-37C4DC27D400}" destId="{E2069983-7782-4A15-BC96-411534486F36}" srcOrd="1" destOrd="0" presId="urn:microsoft.com/office/officeart/2005/8/layout/hList2"/>
    <dgm:cxn modelId="{E9F4B5E0-5842-47A9-95EB-8CD4183B8813}" type="presParOf" srcId="{68077274-8BDA-4BCD-A5CD-37C4DC27D400}" destId="{7A24BE29-B051-4F7A-9776-6833F03D0B47}" srcOrd="2" destOrd="0" presId="urn:microsoft.com/office/officeart/2005/8/layout/hList2"/>
    <dgm:cxn modelId="{E5EC0A53-1BA9-4BB1-BCBA-513694FAEF68}" type="presParOf" srcId="{CF2F1F73-0319-460F-A746-74B2C90A87E9}" destId="{BC510C0D-F94E-4EF8-AFF2-D649A69E4DFA}" srcOrd="3" destOrd="0" presId="urn:microsoft.com/office/officeart/2005/8/layout/hList2"/>
    <dgm:cxn modelId="{9736A5A9-D0F9-4C4B-BBC5-D05F15C9D69E}" type="presParOf" srcId="{CF2F1F73-0319-460F-A746-74B2C90A87E9}" destId="{F987F469-4F95-4D7B-B05A-6D63F33DF86E}" srcOrd="4" destOrd="0" presId="urn:microsoft.com/office/officeart/2005/8/layout/hList2"/>
    <dgm:cxn modelId="{730B4FD3-7109-4964-B0B2-1E32FF1AF576}" type="presParOf" srcId="{F987F469-4F95-4D7B-B05A-6D63F33DF86E}" destId="{B63F6120-DBA3-4DB3-BF7C-B8AF890F46F0}" srcOrd="0" destOrd="0" presId="urn:microsoft.com/office/officeart/2005/8/layout/hList2"/>
    <dgm:cxn modelId="{7735CDCC-F73D-4177-BDE1-801F7B119279}" type="presParOf" srcId="{F987F469-4F95-4D7B-B05A-6D63F33DF86E}" destId="{F3A52D6A-BB84-4552-A5A1-E81D0A9FA4E8}" srcOrd="1" destOrd="0" presId="urn:microsoft.com/office/officeart/2005/8/layout/hList2"/>
    <dgm:cxn modelId="{C8147F2A-11F2-4729-8E15-E063C2BB22DA}" type="presParOf" srcId="{F987F469-4F95-4D7B-B05A-6D63F33DF86E}" destId="{77C1F913-E2BE-4429-A2B1-A460FABD3FF8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175B0F92-0E99-431C-B98D-409D4519B2A2}" type="doc">
      <dgm:prSet loTypeId="urn:microsoft.com/office/officeart/2005/8/layout/hList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ED3D5C5D-62F2-447D-B90F-F908A4188273}">
      <dgm:prSet phldrT="[Text]" custT="1"/>
      <dgm:spPr/>
      <dgm:t>
        <a:bodyPr/>
        <a:lstStyle/>
        <a:p>
          <a:r>
            <a:rPr lang="de-DE" sz="1800" b="1" dirty="0">
              <a:solidFill>
                <a:schemeClr val="tx1"/>
              </a:solidFill>
            </a:rPr>
            <a:t>Bedingungen</a:t>
          </a:r>
        </a:p>
      </dgm:t>
    </dgm:pt>
    <dgm:pt modelId="{A51DC6E9-09EA-487B-B7E6-50DF58504E95}" type="parTrans" cxnId="{071901FD-1683-44EC-B4C8-56421106E1DA}">
      <dgm:prSet/>
      <dgm:spPr/>
      <dgm:t>
        <a:bodyPr/>
        <a:lstStyle/>
        <a:p>
          <a:endParaRPr lang="de-DE"/>
        </a:p>
      </dgm:t>
    </dgm:pt>
    <dgm:pt modelId="{E4F25DA0-691F-45E3-AF52-AA54D958273D}" type="sibTrans" cxnId="{071901FD-1683-44EC-B4C8-56421106E1DA}">
      <dgm:prSet/>
      <dgm:spPr/>
      <dgm:t>
        <a:bodyPr/>
        <a:lstStyle/>
        <a:p>
          <a:endParaRPr lang="de-DE"/>
        </a:p>
      </dgm:t>
    </dgm:pt>
    <dgm:pt modelId="{73A28563-630B-4212-AADA-3618D4743636}">
      <dgm:prSet phldrT="[Text]" custT="1"/>
      <dgm:spPr/>
      <dgm:t>
        <a:bodyPr/>
        <a:lstStyle/>
        <a:p>
          <a:r>
            <a:rPr lang="de-DE" sz="1800" b="1" dirty="0">
              <a:solidFill>
                <a:schemeClr val="tx1"/>
              </a:solidFill>
            </a:rPr>
            <a:t>Inhalte</a:t>
          </a:r>
        </a:p>
      </dgm:t>
    </dgm:pt>
    <dgm:pt modelId="{95127D5B-AF3F-4F30-8BBB-9036CAE57CE8}" type="parTrans" cxnId="{C33E59DE-2196-446A-A6E0-B9C917198AAF}">
      <dgm:prSet/>
      <dgm:spPr/>
      <dgm:t>
        <a:bodyPr/>
        <a:lstStyle/>
        <a:p>
          <a:endParaRPr lang="de-DE"/>
        </a:p>
      </dgm:t>
    </dgm:pt>
    <dgm:pt modelId="{70534440-762E-4012-8158-B17E3942E946}" type="sibTrans" cxnId="{C33E59DE-2196-446A-A6E0-B9C917198AAF}">
      <dgm:prSet/>
      <dgm:spPr/>
      <dgm:t>
        <a:bodyPr/>
        <a:lstStyle/>
        <a:p>
          <a:endParaRPr lang="de-DE"/>
        </a:p>
      </dgm:t>
    </dgm:pt>
    <dgm:pt modelId="{D3377EA5-65B1-41E5-8733-B9CEB9643600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Ruhige &amp; vertrauensvolle Atmosphäre schaffen</a:t>
          </a:r>
        </a:p>
      </dgm:t>
    </dgm:pt>
    <dgm:pt modelId="{946EFE6B-50F0-4333-A52E-0888ED08938A}" type="parTrans" cxnId="{41533ADF-1B73-4AAB-95C8-86D4DBA803DC}">
      <dgm:prSet/>
      <dgm:spPr/>
      <dgm:t>
        <a:bodyPr/>
        <a:lstStyle/>
        <a:p>
          <a:endParaRPr lang="de-DE"/>
        </a:p>
      </dgm:t>
    </dgm:pt>
    <dgm:pt modelId="{7611E1E5-BFE5-4209-8992-419BF1FF5504}" type="sibTrans" cxnId="{41533ADF-1B73-4AAB-95C8-86D4DBA803DC}">
      <dgm:prSet/>
      <dgm:spPr/>
      <dgm:t>
        <a:bodyPr/>
        <a:lstStyle/>
        <a:p>
          <a:endParaRPr lang="de-DE"/>
        </a:p>
      </dgm:t>
    </dgm:pt>
    <dgm:pt modelId="{335E982B-121F-4622-A051-493E71E37168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4-Augen-Gespräch</a:t>
          </a:r>
        </a:p>
      </dgm:t>
    </dgm:pt>
    <dgm:pt modelId="{415F9D99-5B15-4426-BDD0-A85FD6691F47}" type="parTrans" cxnId="{4342DDAC-F771-4BC6-AC05-29A94AC4A4B9}">
      <dgm:prSet/>
      <dgm:spPr/>
      <dgm:t>
        <a:bodyPr/>
        <a:lstStyle/>
        <a:p>
          <a:endParaRPr lang="de-DE"/>
        </a:p>
      </dgm:t>
    </dgm:pt>
    <dgm:pt modelId="{14395648-E4C9-438C-ACA4-6BA2E05549F8}" type="sibTrans" cxnId="{4342DDAC-F771-4BC6-AC05-29A94AC4A4B9}">
      <dgm:prSet/>
      <dgm:spPr/>
      <dgm:t>
        <a:bodyPr/>
        <a:lstStyle/>
        <a:p>
          <a:endParaRPr lang="de-DE"/>
        </a:p>
      </dgm:t>
    </dgm:pt>
    <dgm:pt modelId="{ED95143F-BBEF-4774-B26F-8013EF3527D1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Kein Zeitdruck</a:t>
          </a:r>
        </a:p>
      </dgm:t>
    </dgm:pt>
    <dgm:pt modelId="{B35A45B4-311A-4F48-9A2B-911652649A97}" type="parTrans" cxnId="{C2507C6B-E05E-485A-8324-6C99A543C97D}">
      <dgm:prSet/>
      <dgm:spPr/>
      <dgm:t>
        <a:bodyPr/>
        <a:lstStyle/>
        <a:p>
          <a:endParaRPr lang="de-DE"/>
        </a:p>
      </dgm:t>
    </dgm:pt>
    <dgm:pt modelId="{8686ED34-56D1-4FD8-8B43-1B5FDE4A7D8A}" type="sibTrans" cxnId="{C2507C6B-E05E-485A-8324-6C99A543C97D}">
      <dgm:prSet/>
      <dgm:spPr/>
      <dgm:t>
        <a:bodyPr/>
        <a:lstStyle/>
        <a:p>
          <a:endParaRPr lang="de-DE"/>
        </a:p>
      </dgm:t>
    </dgm:pt>
    <dgm:pt modelId="{B127F4FE-7812-4538-9811-47BB0D96BB83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Raum vorbereiten (Getränk?)</a:t>
          </a:r>
        </a:p>
      </dgm:t>
    </dgm:pt>
    <dgm:pt modelId="{D30F9B46-02DF-44CF-B47B-1F32C60DD462}" type="parTrans" cxnId="{766DF769-D94E-4C82-847C-1032AA8FC25F}">
      <dgm:prSet/>
      <dgm:spPr/>
      <dgm:t>
        <a:bodyPr/>
        <a:lstStyle/>
        <a:p>
          <a:endParaRPr lang="de-DE"/>
        </a:p>
      </dgm:t>
    </dgm:pt>
    <dgm:pt modelId="{68988D89-9673-45C2-9F5F-4524017D6F5F}" type="sibTrans" cxnId="{766DF769-D94E-4C82-847C-1032AA8FC25F}">
      <dgm:prSet/>
      <dgm:spPr/>
      <dgm:t>
        <a:bodyPr/>
        <a:lstStyle/>
        <a:p>
          <a:endParaRPr lang="de-DE"/>
        </a:p>
      </dgm:t>
    </dgm:pt>
    <dgm:pt modelId="{11CEC282-B4D9-4FB5-9E55-3F9A0AF8740F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Max. 20 Minuten</a:t>
          </a:r>
        </a:p>
      </dgm:t>
    </dgm:pt>
    <dgm:pt modelId="{34AA61DB-8A59-4367-AC76-BB295BB91350}" type="parTrans" cxnId="{7DFAC917-2A04-4CCC-A9D0-A93839A64611}">
      <dgm:prSet/>
      <dgm:spPr/>
      <dgm:t>
        <a:bodyPr/>
        <a:lstStyle/>
        <a:p>
          <a:endParaRPr lang="de-DE"/>
        </a:p>
      </dgm:t>
    </dgm:pt>
    <dgm:pt modelId="{D0B39BC4-E998-4C62-992C-E2B086625744}" type="sibTrans" cxnId="{7DFAC917-2A04-4CCC-A9D0-A93839A64611}">
      <dgm:prSet/>
      <dgm:spPr/>
      <dgm:t>
        <a:bodyPr/>
        <a:lstStyle/>
        <a:p>
          <a:endParaRPr lang="de-DE"/>
        </a:p>
      </dgm:t>
    </dgm:pt>
    <dgm:pt modelId="{193B9BE7-AED8-47A7-B923-12E9A563DDE1}">
      <dgm:prSet custT="1"/>
      <dgm:spPr/>
      <dgm:t>
        <a:bodyPr/>
        <a:lstStyle/>
        <a:p>
          <a:r>
            <a:rPr lang="de-DE" sz="1800" b="1" dirty="0">
              <a:solidFill>
                <a:schemeClr val="tx1"/>
              </a:solidFill>
            </a:rPr>
            <a:t>Kommunikation</a:t>
          </a:r>
        </a:p>
      </dgm:t>
    </dgm:pt>
    <dgm:pt modelId="{F756CCEF-2C49-4467-8192-FDF1E288E564}" type="parTrans" cxnId="{BCB68A89-8B63-4811-B3A6-6C36DAB0BCA3}">
      <dgm:prSet/>
      <dgm:spPr/>
      <dgm:t>
        <a:bodyPr/>
        <a:lstStyle/>
        <a:p>
          <a:endParaRPr lang="de-DE"/>
        </a:p>
      </dgm:t>
    </dgm:pt>
    <dgm:pt modelId="{C0B63140-3794-4D6B-8CC2-882C4210237E}" type="sibTrans" cxnId="{BCB68A89-8B63-4811-B3A6-6C36DAB0BCA3}">
      <dgm:prSet/>
      <dgm:spPr/>
      <dgm:t>
        <a:bodyPr/>
        <a:lstStyle/>
        <a:p>
          <a:endParaRPr lang="de-DE"/>
        </a:p>
      </dgm:t>
    </dgm:pt>
    <dgm:pt modelId="{887C18DD-6F2C-4AB2-A832-9BD45847E924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Bezugskontakt herstellen (Begrüßung, Offenheit, Freundlichkeit, Respekt)</a:t>
          </a:r>
        </a:p>
      </dgm:t>
    </dgm:pt>
    <dgm:pt modelId="{7FAF5905-79E6-4F00-9363-9FAFDC336A49}" type="parTrans" cxnId="{7F34A5F4-D870-41CF-84D5-7C56C4EA3D31}">
      <dgm:prSet/>
      <dgm:spPr/>
      <dgm:t>
        <a:bodyPr/>
        <a:lstStyle/>
        <a:p>
          <a:endParaRPr lang="de-DE"/>
        </a:p>
      </dgm:t>
    </dgm:pt>
    <dgm:pt modelId="{D43F4113-36D6-4947-8642-57DF697AFC9E}" type="sibTrans" cxnId="{7F34A5F4-D870-41CF-84D5-7C56C4EA3D31}">
      <dgm:prSet/>
      <dgm:spPr/>
      <dgm:t>
        <a:bodyPr/>
        <a:lstStyle/>
        <a:p>
          <a:endParaRPr lang="de-DE"/>
        </a:p>
      </dgm:t>
    </dgm:pt>
    <dgm:pt modelId="{8AB43B9F-492F-4304-8C5D-0784AC3B0B1B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Körpersprache beachten (eigene &amp; die der anzuleitenden Person)</a:t>
          </a:r>
        </a:p>
      </dgm:t>
    </dgm:pt>
    <dgm:pt modelId="{38235632-EC1E-4830-AEA6-666101D75254}" type="parTrans" cxnId="{8CD7397A-7653-4CC5-9F70-5545D3F82D4B}">
      <dgm:prSet/>
      <dgm:spPr/>
      <dgm:t>
        <a:bodyPr/>
        <a:lstStyle/>
        <a:p>
          <a:endParaRPr lang="de-DE"/>
        </a:p>
      </dgm:t>
    </dgm:pt>
    <dgm:pt modelId="{6B7C5675-0E6C-4EB6-B674-75624B9B7E6B}" type="sibTrans" cxnId="{8CD7397A-7653-4CC5-9F70-5545D3F82D4B}">
      <dgm:prSet/>
      <dgm:spPr/>
      <dgm:t>
        <a:bodyPr/>
        <a:lstStyle/>
        <a:p>
          <a:endParaRPr lang="de-DE"/>
        </a:p>
      </dgm:t>
    </dgm:pt>
    <dgm:pt modelId="{24DC6ACC-F244-4DC4-A0EA-FB8EBF4E9FEE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Ggf. Neuplanung und Dokumentation</a:t>
          </a:r>
        </a:p>
      </dgm:t>
    </dgm:pt>
    <dgm:pt modelId="{6552EC46-CEF2-45A8-9BA3-378762DCBC79}" type="parTrans" cxnId="{A992A595-4B31-4543-BC39-A23F8E13C68D}">
      <dgm:prSet/>
      <dgm:spPr/>
      <dgm:t>
        <a:bodyPr/>
        <a:lstStyle/>
        <a:p>
          <a:endParaRPr lang="de-DE"/>
        </a:p>
      </dgm:t>
    </dgm:pt>
    <dgm:pt modelId="{A1F80404-01F4-4042-91E2-1E86B67A0C3D}" type="sibTrans" cxnId="{A992A595-4B31-4543-BC39-A23F8E13C68D}">
      <dgm:prSet/>
      <dgm:spPr/>
      <dgm:t>
        <a:bodyPr/>
        <a:lstStyle/>
        <a:p>
          <a:endParaRPr lang="de-DE"/>
        </a:p>
      </dgm:t>
    </dgm:pt>
    <dgm:pt modelId="{F7A12529-3CED-4409-88B4-41440175BF80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Zeit &amp; Ort wählen</a:t>
          </a:r>
        </a:p>
      </dgm:t>
    </dgm:pt>
    <dgm:pt modelId="{F52F03B1-1D8C-45A1-BFAC-4FA67915D7F0}" type="parTrans" cxnId="{1FC3E415-9C20-438B-A58C-6CD5FC4DBE71}">
      <dgm:prSet/>
      <dgm:spPr/>
      <dgm:t>
        <a:bodyPr/>
        <a:lstStyle/>
        <a:p>
          <a:endParaRPr lang="de-DE"/>
        </a:p>
      </dgm:t>
    </dgm:pt>
    <dgm:pt modelId="{1633212C-4D10-4317-9B84-DA2F39CB62C4}" type="sibTrans" cxnId="{1FC3E415-9C20-438B-A58C-6CD5FC4DBE71}">
      <dgm:prSet/>
      <dgm:spPr/>
      <dgm:t>
        <a:bodyPr/>
        <a:lstStyle/>
        <a:p>
          <a:endParaRPr lang="de-DE"/>
        </a:p>
      </dgm:t>
    </dgm:pt>
    <dgm:pt modelId="{40ABD7CE-2385-41CF-92C0-4E3D56B9A006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Auch später möglich</a:t>
          </a:r>
        </a:p>
      </dgm:t>
    </dgm:pt>
    <dgm:pt modelId="{3785C1A4-B01D-4006-9734-8812CC880858}" type="parTrans" cxnId="{18ED10C2-41CD-40DD-A390-3936D01C8EC2}">
      <dgm:prSet/>
      <dgm:spPr/>
      <dgm:t>
        <a:bodyPr/>
        <a:lstStyle/>
        <a:p>
          <a:endParaRPr lang="de-DE"/>
        </a:p>
      </dgm:t>
    </dgm:pt>
    <dgm:pt modelId="{A2564509-6390-492F-AA44-8B49A6853037}" type="sibTrans" cxnId="{18ED10C2-41CD-40DD-A390-3936D01C8EC2}">
      <dgm:prSet/>
      <dgm:spPr/>
      <dgm:t>
        <a:bodyPr/>
        <a:lstStyle/>
        <a:p>
          <a:endParaRPr lang="de-DE"/>
        </a:p>
      </dgm:t>
    </dgm:pt>
    <dgm:pt modelId="{A0EEA84E-35B7-44B0-9A0B-92D7E3F88F75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Unmittelbar nach Anleitung, nach kurzer Pause </a:t>
          </a:r>
        </a:p>
      </dgm:t>
    </dgm:pt>
    <dgm:pt modelId="{44309152-E2DF-4B78-9003-840742B812AA}" type="parTrans" cxnId="{71C33D77-1580-41A8-9F1E-01309250A91D}">
      <dgm:prSet/>
      <dgm:spPr/>
      <dgm:t>
        <a:bodyPr/>
        <a:lstStyle/>
        <a:p>
          <a:endParaRPr lang="de-DE"/>
        </a:p>
      </dgm:t>
    </dgm:pt>
    <dgm:pt modelId="{5C46B63B-D9B4-4860-A229-8B380B79638B}" type="sibTrans" cxnId="{71C33D77-1580-41A8-9F1E-01309250A91D}">
      <dgm:prSet/>
      <dgm:spPr/>
      <dgm:t>
        <a:bodyPr/>
        <a:lstStyle/>
        <a:p>
          <a:endParaRPr lang="de-DE"/>
        </a:p>
      </dgm:t>
    </dgm:pt>
    <dgm:pt modelId="{47575928-9ADC-4977-9CCA-A05FC71C9D27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Erreichen der Ziele abgleichen</a:t>
          </a:r>
        </a:p>
      </dgm:t>
    </dgm:pt>
    <dgm:pt modelId="{79DDF4F2-9980-4A13-84DA-C308F28C2709}" type="parTrans" cxnId="{4D466189-3D74-4709-ABCB-25CD9B66BEC6}">
      <dgm:prSet/>
      <dgm:spPr/>
      <dgm:t>
        <a:bodyPr/>
        <a:lstStyle/>
        <a:p>
          <a:endParaRPr lang="de-DE"/>
        </a:p>
      </dgm:t>
    </dgm:pt>
    <dgm:pt modelId="{638BF9A4-E027-4EFC-B758-CD206D35974D}" type="sibTrans" cxnId="{4D466189-3D74-4709-ABCB-25CD9B66BEC6}">
      <dgm:prSet/>
      <dgm:spPr/>
      <dgm:t>
        <a:bodyPr/>
        <a:lstStyle/>
        <a:p>
          <a:endParaRPr lang="de-DE"/>
        </a:p>
      </dgm:t>
    </dgm:pt>
    <dgm:pt modelId="{F793D2B6-FB45-488E-AC48-EC4D027A84B4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Aktives Zuhören</a:t>
          </a:r>
        </a:p>
      </dgm:t>
    </dgm:pt>
    <dgm:pt modelId="{81313C6D-33DA-44A8-8CCF-2F2FE5A1E2ED}" type="parTrans" cxnId="{FBE44641-851E-49A4-B1DA-922F9E22576B}">
      <dgm:prSet/>
      <dgm:spPr/>
      <dgm:t>
        <a:bodyPr/>
        <a:lstStyle/>
        <a:p>
          <a:endParaRPr lang="de-DE"/>
        </a:p>
      </dgm:t>
    </dgm:pt>
    <dgm:pt modelId="{FDB7EAE8-35A5-432D-B5ED-10E9B05DE586}" type="sibTrans" cxnId="{FBE44641-851E-49A4-B1DA-922F9E22576B}">
      <dgm:prSet/>
      <dgm:spPr/>
      <dgm:t>
        <a:bodyPr/>
        <a:lstStyle/>
        <a:p>
          <a:endParaRPr lang="de-DE"/>
        </a:p>
      </dgm:t>
    </dgm:pt>
    <dgm:pt modelId="{4425C975-D400-42F5-B7AE-EBE3D885CA82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Gedankenaustausch</a:t>
          </a:r>
        </a:p>
      </dgm:t>
    </dgm:pt>
    <dgm:pt modelId="{EED5C923-02CC-403F-89AF-69AE025358B8}" type="parTrans" cxnId="{5244450A-8121-4248-BEE3-ECAD147AA8DB}">
      <dgm:prSet/>
      <dgm:spPr/>
      <dgm:t>
        <a:bodyPr/>
        <a:lstStyle/>
        <a:p>
          <a:endParaRPr lang="de-DE"/>
        </a:p>
      </dgm:t>
    </dgm:pt>
    <dgm:pt modelId="{582FB95A-691D-481A-AB1F-D4081BFDC3C3}" type="sibTrans" cxnId="{5244450A-8121-4248-BEE3-ECAD147AA8DB}">
      <dgm:prSet/>
      <dgm:spPr/>
      <dgm:t>
        <a:bodyPr/>
        <a:lstStyle/>
        <a:p>
          <a:endParaRPr lang="de-DE"/>
        </a:p>
      </dgm:t>
    </dgm:pt>
    <dgm:pt modelId="{37F5BAF8-F4DF-4539-AB59-E2F4D828F26A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Selbsteinschätzung der/des Anzuleitenden</a:t>
          </a:r>
        </a:p>
      </dgm:t>
    </dgm:pt>
    <dgm:pt modelId="{0B651A95-71C1-4730-AE36-81F3617BDD94}" type="parTrans" cxnId="{7C7218B8-4884-45EC-9CEB-E3C1EBB09899}">
      <dgm:prSet/>
      <dgm:spPr/>
      <dgm:t>
        <a:bodyPr/>
        <a:lstStyle/>
        <a:p>
          <a:endParaRPr lang="de-DE"/>
        </a:p>
      </dgm:t>
    </dgm:pt>
    <dgm:pt modelId="{214DA547-F612-4BFD-B2F6-6FC5B0B2C16B}" type="sibTrans" cxnId="{7C7218B8-4884-45EC-9CEB-E3C1EBB09899}">
      <dgm:prSet/>
      <dgm:spPr/>
      <dgm:t>
        <a:bodyPr/>
        <a:lstStyle/>
        <a:p>
          <a:endParaRPr lang="de-DE"/>
        </a:p>
      </dgm:t>
    </dgm:pt>
    <dgm:pt modelId="{51BA9E51-5AE5-4456-B3D9-E66568EFC131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Feedback geben</a:t>
          </a:r>
        </a:p>
      </dgm:t>
    </dgm:pt>
    <dgm:pt modelId="{9A90938E-44BB-462D-B5D9-864A20C1A8CD}" type="parTrans" cxnId="{F8949F5D-D9B4-47BD-9435-4307AE17D404}">
      <dgm:prSet/>
      <dgm:spPr/>
      <dgm:t>
        <a:bodyPr/>
        <a:lstStyle/>
        <a:p>
          <a:endParaRPr lang="de-DE"/>
        </a:p>
      </dgm:t>
    </dgm:pt>
    <dgm:pt modelId="{70E3A322-D164-43BB-A319-25A0A2900CDF}" type="sibTrans" cxnId="{F8949F5D-D9B4-47BD-9435-4307AE17D404}">
      <dgm:prSet/>
      <dgm:spPr/>
      <dgm:t>
        <a:bodyPr/>
        <a:lstStyle/>
        <a:p>
          <a:endParaRPr lang="de-DE"/>
        </a:p>
      </dgm:t>
    </dgm:pt>
    <dgm:pt modelId="{BE8BF751-63D1-46A2-9B91-FEF16D769C1E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Feedback &amp; Selbsteinschätzung anhand der geplanten Kompetenzen &amp; Ziele</a:t>
          </a:r>
        </a:p>
      </dgm:t>
    </dgm:pt>
    <dgm:pt modelId="{D1241C09-76CB-4DD4-8553-F65B32F42FEA}" type="parTrans" cxnId="{7FFA34B2-2975-4422-950A-14015908E519}">
      <dgm:prSet/>
      <dgm:spPr/>
      <dgm:t>
        <a:bodyPr/>
        <a:lstStyle/>
        <a:p>
          <a:endParaRPr lang="de-DE"/>
        </a:p>
      </dgm:t>
    </dgm:pt>
    <dgm:pt modelId="{5A46DA6A-E74A-48ED-B561-14075A3E5F9D}" type="sibTrans" cxnId="{7FFA34B2-2975-4422-950A-14015908E519}">
      <dgm:prSet/>
      <dgm:spPr/>
      <dgm:t>
        <a:bodyPr/>
        <a:lstStyle/>
        <a:p>
          <a:endParaRPr lang="de-DE"/>
        </a:p>
      </dgm:t>
    </dgm:pt>
    <dgm:pt modelId="{6ED359CF-CE63-4BC8-B764-89BF947BA05F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Feedback geben</a:t>
          </a:r>
        </a:p>
      </dgm:t>
    </dgm:pt>
    <dgm:pt modelId="{48C74BBF-4434-4369-98BE-4CB503F95D23}" type="parTrans" cxnId="{68F48EB0-B7FE-4D31-867E-391E712B4B79}">
      <dgm:prSet/>
      <dgm:spPr/>
      <dgm:t>
        <a:bodyPr/>
        <a:lstStyle/>
        <a:p>
          <a:endParaRPr lang="de-DE"/>
        </a:p>
      </dgm:t>
    </dgm:pt>
    <dgm:pt modelId="{606690C1-1468-4431-9D0D-261035F8062C}" type="sibTrans" cxnId="{68F48EB0-B7FE-4D31-867E-391E712B4B79}">
      <dgm:prSet/>
      <dgm:spPr/>
      <dgm:t>
        <a:bodyPr/>
        <a:lstStyle/>
        <a:p>
          <a:endParaRPr lang="de-DE"/>
        </a:p>
      </dgm:t>
    </dgm:pt>
    <dgm:pt modelId="{CF2F1F73-0319-460F-A746-74B2C90A87E9}" type="pres">
      <dgm:prSet presAssocID="{175B0F92-0E99-431C-B98D-409D4519B2A2}" presName="linearFlow" presStyleCnt="0">
        <dgm:presLayoutVars>
          <dgm:dir/>
          <dgm:animLvl val="lvl"/>
          <dgm:resizeHandles/>
        </dgm:presLayoutVars>
      </dgm:prSet>
      <dgm:spPr/>
    </dgm:pt>
    <dgm:pt modelId="{35790C0E-5F2B-46A0-B9AE-ECB25DEA4AD5}" type="pres">
      <dgm:prSet presAssocID="{ED3D5C5D-62F2-447D-B90F-F908A4188273}" presName="compositeNode" presStyleCnt="0">
        <dgm:presLayoutVars>
          <dgm:bulletEnabled val="1"/>
        </dgm:presLayoutVars>
      </dgm:prSet>
      <dgm:spPr/>
    </dgm:pt>
    <dgm:pt modelId="{A3F0A306-227F-4CEE-976F-19EE2D23D21E}" type="pres">
      <dgm:prSet presAssocID="{ED3D5C5D-62F2-447D-B90F-F908A4188273}" presName="image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abelle"/>
        </a:ext>
      </dgm:extLst>
    </dgm:pt>
    <dgm:pt modelId="{DA298790-E298-4A31-A331-A25CE00E3968}" type="pres">
      <dgm:prSet presAssocID="{ED3D5C5D-62F2-447D-B90F-F908A4188273}" presName="childNode" presStyleLbl="node1" presStyleIdx="0" presStyleCnt="3">
        <dgm:presLayoutVars>
          <dgm:bulletEnabled val="1"/>
        </dgm:presLayoutVars>
      </dgm:prSet>
      <dgm:spPr/>
    </dgm:pt>
    <dgm:pt modelId="{EA306BC8-C901-47D8-B216-3787E18A332B}" type="pres">
      <dgm:prSet presAssocID="{ED3D5C5D-62F2-447D-B90F-F908A4188273}" presName="parentNode" presStyleLbl="revTx" presStyleIdx="0" presStyleCnt="3">
        <dgm:presLayoutVars>
          <dgm:chMax val="0"/>
          <dgm:bulletEnabled val="1"/>
        </dgm:presLayoutVars>
      </dgm:prSet>
      <dgm:spPr/>
    </dgm:pt>
    <dgm:pt modelId="{B2E27F8D-FBAE-4180-BF0D-8B359D32C966}" type="pres">
      <dgm:prSet presAssocID="{E4F25DA0-691F-45E3-AF52-AA54D958273D}" presName="sibTrans" presStyleCnt="0"/>
      <dgm:spPr/>
    </dgm:pt>
    <dgm:pt modelId="{68077274-8BDA-4BCD-A5CD-37C4DC27D400}" type="pres">
      <dgm:prSet presAssocID="{73A28563-630B-4212-AADA-3618D4743636}" presName="compositeNode" presStyleCnt="0">
        <dgm:presLayoutVars>
          <dgm:bulletEnabled val="1"/>
        </dgm:presLayoutVars>
      </dgm:prSet>
      <dgm:spPr/>
    </dgm:pt>
    <dgm:pt modelId="{62433E2D-66E4-4ABC-A6E5-30009C21DB69}" type="pres">
      <dgm:prSet presAssocID="{73A28563-630B-4212-AADA-3618D4743636}" presName="image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eöffnetes Buch"/>
        </a:ext>
      </dgm:extLst>
    </dgm:pt>
    <dgm:pt modelId="{E2069983-7782-4A15-BC96-411534486F36}" type="pres">
      <dgm:prSet presAssocID="{73A28563-630B-4212-AADA-3618D4743636}" presName="childNode" presStyleLbl="node1" presStyleIdx="1" presStyleCnt="3">
        <dgm:presLayoutVars>
          <dgm:bulletEnabled val="1"/>
        </dgm:presLayoutVars>
      </dgm:prSet>
      <dgm:spPr/>
    </dgm:pt>
    <dgm:pt modelId="{7A24BE29-B051-4F7A-9776-6833F03D0B47}" type="pres">
      <dgm:prSet presAssocID="{73A28563-630B-4212-AADA-3618D4743636}" presName="parentNode" presStyleLbl="revTx" presStyleIdx="1" presStyleCnt="3">
        <dgm:presLayoutVars>
          <dgm:chMax val="0"/>
          <dgm:bulletEnabled val="1"/>
        </dgm:presLayoutVars>
      </dgm:prSet>
      <dgm:spPr/>
    </dgm:pt>
    <dgm:pt modelId="{BC510C0D-F94E-4EF8-AFF2-D649A69E4DFA}" type="pres">
      <dgm:prSet presAssocID="{70534440-762E-4012-8158-B17E3942E946}" presName="sibTrans" presStyleCnt="0"/>
      <dgm:spPr/>
    </dgm:pt>
    <dgm:pt modelId="{F987F469-4F95-4D7B-B05A-6D63F33DF86E}" type="pres">
      <dgm:prSet presAssocID="{193B9BE7-AED8-47A7-B923-12E9A563DDE1}" presName="compositeNode" presStyleCnt="0">
        <dgm:presLayoutVars>
          <dgm:bulletEnabled val="1"/>
        </dgm:presLayoutVars>
      </dgm:prSet>
      <dgm:spPr/>
    </dgm:pt>
    <dgm:pt modelId="{B63F6120-DBA3-4DB3-BF7C-B8AF890F46F0}" type="pres">
      <dgm:prSet presAssocID="{193B9BE7-AED8-47A7-B923-12E9A563DDE1}" presName="image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rketing"/>
        </a:ext>
      </dgm:extLst>
    </dgm:pt>
    <dgm:pt modelId="{F3A52D6A-BB84-4552-A5A1-E81D0A9FA4E8}" type="pres">
      <dgm:prSet presAssocID="{193B9BE7-AED8-47A7-B923-12E9A563DDE1}" presName="childNode" presStyleLbl="node1" presStyleIdx="2" presStyleCnt="3">
        <dgm:presLayoutVars>
          <dgm:bulletEnabled val="1"/>
        </dgm:presLayoutVars>
      </dgm:prSet>
      <dgm:spPr/>
    </dgm:pt>
    <dgm:pt modelId="{77C1F913-E2BE-4429-A2B1-A460FABD3FF8}" type="pres">
      <dgm:prSet presAssocID="{193B9BE7-AED8-47A7-B923-12E9A563DDE1}" presName="parentNode" presStyleLbl="revTx" presStyleIdx="2" presStyleCnt="3">
        <dgm:presLayoutVars>
          <dgm:chMax val="0"/>
          <dgm:bulletEnabled val="1"/>
        </dgm:presLayoutVars>
      </dgm:prSet>
      <dgm:spPr/>
    </dgm:pt>
  </dgm:ptLst>
  <dgm:cxnLst>
    <dgm:cxn modelId="{42734507-3098-4D26-AC5E-B9E45F35AE2E}" type="presOf" srcId="{51BA9E51-5AE5-4456-B3D9-E66568EFC131}" destId="{E2069983-7782-4A15-BC96-411534486F36}" srcOrd="0" destOrd="3" presId="urn:microsoft.com/office/officeart/2005/8/layout/hList2"/>
    <dgm:cxn modelId="{FA83210A-9C68-4664-8C69-26DBA2FCC583}" type="presOf" srcId="{D3377EA5-65B1-41E5-8733-B9CEB9643600}" destId="{DA298790-E298-4A31-A331-A25CE00E3968}" srcOrd="0" destOrd="3" presId="urn:microsoft.com/office/officeart/2005/8/layout/hList2"/>
    <dgm:cxn modelId="{5244450A-8121-4248-BEE3-ECAD147AA8DB}" srcId="{73A28563-630B-4212-AADA-3618D4743636}" destId="{4425C975-D400-42F5-B7AE-EBE3D885CA82}" srcOrd="1" destOrd="0" parTransId="{EED5C923-02CC-403F-89AF-69AE025358B8}" sibTransId="{582FB95A-691D-481A-AB1F-D4081BFDC3C3}"/>
    <dgm:cxn modelId="{F856F20B-A09A-43C6-A396-C149032EA2E7}" type="presOf" srcId="{24DC6ACC-F244-4DC4-A0EA-FB8EBF4E9FEE}" destId="{E2069983-7782-4A15-BC96-411534486F36}" srcOrd="0" destOrd="5" presId="urn:microsoft.com/office/officeart/2005/8/layout/hList2"/>
    <dgm:cxn modelId="{1FC3E415-9C20-438B-A58C-6CD5FC4DBE71}" srcId="{ED3D5C5D-62F2-447D-B90F-F908A4188273}" destId="{F7A12529-3CED-4409-88B4-41440175BF80}" srcOrd="0" destOrd="0" parTransId="{F52F03B1-1D8C-45A1-BFAC-4FA67915D7F0}" sibTransId="{1633212C-4D10-4317-9B84-DA2F39CB62C4}"/>
    <dgm:cxn modelId="{8292F915-75ED-4097-A896-0463FF769EB7}" type="presOf" srcId="{ED95143F-BBEF-4774-B26F-8013EF3527D1}" destId="{DA298790-E298-4A31-A331-A25CE00E3968}" srcOrd="0" destOrd="7" presId="urn:microsoft.com/office/officeart/2005/8/layout/hList2"/>
    <dgm:cxn modelId="{7DFAC917-2A04-4CCC-A9D0-A93839A64611}" srcId="{ED3D5C5D-62F2-447D-B90F-F908A4188273}" destId="{11CEC282-B4D9-4FB5-9E55-3F9A0AF8740F}" srcOrd="6" destOrd="0" parTransId="{34AA61DB-8A59-4367-AC76-BB295BB91350}" sibTransId="{D0B39BC4-E998-4C62-992C-E2B086625744}"/>
    <dgm:cxn modelId="{1B52EF20-66BC-4DF3-A8D2-C5D130642C06}" type="presOf" srcId="{887C18DD-6F2C-4AB2-A832-9BD45847E924}" destId="{F3A52D6A-BB84-4552-A5A1-E81D0A9FA4E8}" srcOrd="0" destOrd="0" presId="urn:microsoft.com/office/officeart/2005/8/layout/hList2"/>
    <dgm:cxn modelId="{D049AF38-404C-4C71-AE37-E28E55FE935C}" type="presOf" srcId="{37F5BAF8-F4DF-4539-AB59-E2F4D828F26A}" destId="{E2069983-7782-4A15-BC96-411534486F36}" srcOrd="0" destOrd="2" presId="urn:microsoft.com/office/officeart/2005/8/layout/hList2"/>
    <dgm:cxn modelId="{DEACFF5B-B651-4BB3-8B39-A70EE18CBC2A}" type="presOf" srcId="{BE8BF751-63D1-46A2-9B91-FEF16D769C1E}" destId="{E2069983-7782-4A15-BC96-411534486F36}" srcOrd="0" destOrd="4" presId="urn:microsoft.com/office/officeart/2005/8/layout/hList2"/>
    <dgm:cxn modelId="{F8949F5D-D9B4-47BD-9435-4307AE17D404}" srcId="{73A28563-630B-4212-AADA-3618D4743636}" destId="{51BA9E51-5AE5-4456-B3D9-E66568EFC131}" srcOrd="3" destOrd="0" parTransId="{9A90938E-44BB-462D-B5D9-864A20C1A8CD}" sibTransId="{70E3A322-D164-43BB-A319-25A0A2900CDF}"/>
    <dgm:cxn modelId="{FBE44641-851E-49A4-B1DA-922F9E22576B}" srcId="{193B9BE7-AED8-47A7-B923-12E9A563DDE1}" destId="{F793D2B6-FB45-488E-AC48-EC4D027A84B4}" srcOrd="1" destOrd="0" parTransId="{81313C6D-33DA-44A8-8CCF-2F2FE5A1E2ED}" sibTransId="{FDB7EAE8-35A5-432D-B5ED-10E9B05DE586}"/>
    <dgm:cxn modelId="{766DF769-D94E-4C82-847C-1032AA8FC25F}" srcId="{ED3D5C5D-62F2-447D-B90F-F908A4188273}" destId="{B127F4FE-7812-4538-9811-47BB0D96BB83}" srcOrd="4" destOrd="0" parTransId="{D30F9B46-02DF-44CF-B47B-1F32C60DD462}" sibTransId="{68988D89-9673-45C2-9F5F-4524017D6F5F}"/>
    <dgm:cxn modelId="{C2507C6B-E05E-485A-8324-6C99A543C97D}" srcId="{ED3D5C5D-62F2-447D-B90F-F908A4188273}" destId="{ED95143F-BBEF-4774-B26F-8013EF3527D1}" srcOrd="7" destOrd="0" parTransId="{B35A45B4-311A-4F48-9A2B-911652649A97}" sibTransId="{8686ED34-56D1-4FD8-8B43-1B5FDE4A7D8A}"/>
    <dgm:cxn modelId="{3129DA4B-A4FB-428B-95F7-F4D964DB126D}" type="presOf" srcId="{73A28563-630B-4212-AADA-3618D4743636}" destId="{7A24BE29-B051-4F7A-9776-6833F03D0B47}" srcOrd="0" destOrd="0" presId="urn:microsoft.com/office/officeart/2005/8/layout/hList2"/>
    <dgm:cxn modelId="{47859975-F243-4795-AB58-9A8FA33F6FD5}" type="presOf" srcId="{11CEC282-B4D9-4FB5-9E55-3F9A0AF8740F}" destId="{DA298790-E298-4A31-A331-A25CE00E3968}" srcOrd="0" destOrd="6" presId="urn:microsoft.com/office/officeart/2005/8/layout/hList2"/>
    <dgm:cxn modelId="{9C88D656-1789-4838-ADA8-92347DDB4593}" type="presOf" srcId="{ED3D5C5D-62F2-447D-B90F-F908A4188273}" destId="{EA306BC8-C901-47D8-B216-3787E18A332B}" srcOrd="0" destOrd="0" presId="urn:microsoft.com/office/officeart/2005/8/layout/hList2"/>
    <dgm:cxn modelId="{71C33D77-1580-41A8-9F1E-01309250A91D}" srcId="{ED3D5C5D-62F2-447D-B90F-F908A4188273}" destId="{A0EEA84E-35B7-44B0-9A0B-92D7E3F88F75}" srcOrd="1" destOrd="0" parTransId="{44309152-E2DF-4B78-9003-840742B812AA}" sibTransId="{5C46B63B-D9B4-4860-A229-8B380B79638B}"/>
    <dgm:cxn modelId="{8CD7397A-7653-4CC5-9F70-5545D3F82D4B}" srcId="{193B9BE7-AED8-47A7-B923-12E9A563DDE1}" destId="{8AB43B9F-492F-4304-8C5D-0784AC3B0B1B}" srcOrd="2" destOrd="0" parTransId="{38235632-EC1E-4830-AEA6-666101D75254}" sibTransId="{6B7C5675-0E6C-4EB6-B674-75624B9B7E6B}"/>
    <dgm:cxn modelId="{4D466189-3D74-4709-ABCB-25CD9B66BEC6}" srcId="{73A28563-630B-4212-AADA-3618D4743636}" destId="{47575928-9ADC-4977-9CCA-A05FC71C9D27}" srcOrd="0" destOrd="0" parTransId="{79DDF4F2-9980-4A13-84DA-C308F28C2709}" sibTransId="{638BF9A4-E027-4EFC-B758-CD206D35974D}"/>
    <dgm:cxn modelId="{BCB68A89-8B63-4811-B3A6-6C36DAB0BCA3}" srcId="{175B0F92-0E99-431C-B98D-409D4519B2A2}" destId="{193B9BE7-AED8-47A7-B923-12E9A563DDE1}" srcOrd="2" destOrd="0" parTransId="{F756CCEF-2C49-4467-8192-FDF1E288E564}" sibTransId="{C0B63140-3794-4D6B-8CC2-882C4210237E}"/>
    <dgm:cxn modelId="{A992A595-4B31-4543-BC39-A23F8E13C68D}" srcId="{73A28563-630B-4212-AADA-3618D4743636}" destId="{24DC6ACC-F244-4DC4-A0EA-FB8EBF4E9FEE}" srcOrd="5" destOrd="0" parTransId="{6552EC46-CEF2-45A8-9BA3-378762DCBC79}" sibTransId="{A1F80404-01F4-4042-91E2-1E86B67A0C3D}"/>
    <dgm:cxn modelId="{4342DDAC-F771-4BC6-AC05-29A94AC4A4B9}" srcId="{ED3D5C5D-62F2-447D-B90F-F908A4188273}" destId="{335E982B-121F-4622-A051-493E71E37168}" srcOrd="5" destOrd="0" parTransId="{415F9D99-5B15-4426-BDD0-A85FD6691F47}" sibTransId="{14395648-E4C9-438C-ACA4-6BA2E05549F8}"/>
    <dgm:cxn modelId="{23FE03AE-0866-4BA7-A7D8-F6B790C6A7DD}" type="presOf" srcId="{4425C975-D400-42F5-B7AE-EBE3D885CA82}" destId="{E2069983-7782-4A15-BC96-411534486F36}" srcOrd="0" destOrd="1" presId="urn:microsoft.com/office/officeart/2005/8/layout/hList2"/>
    <dgm:cxn modelId="{68F48EB0-B7FE-4D31-867E-391E712B4B79}" srcId="{193B9BE7-AED8-47A7-B923-12E9A563DDE1}" destId="{6ED359CF-CE63-4BC8-B764-89BF947BA05F}" srcOrd="3" destOrd="0" parTransId="{48C74BBF-4434-4369-98BE-4CB503F95D23}" sibTransId="{606690C1-1468-4431-9D0D-261035F8062C}"/>
    <dgm:cxn modelId="{7FFA34B2-2975-4422-950A-14015908E519}" srcId="{73A28563-630B-4212-AADA-3618D4743636}" destId="{BE8BF751-63D1-46A2-9B91-FEF16D769C1E}" srcOrd="4" destOrd="0" parTransId="{D1241C09-76CB-4DD4-8553-F65B32F42FEA}" sibTransId="{5A46DA6A-E74A-48ED-B561-14075A3E5F9D}"/>
    <dgm:cxn modelId="{98446EB2-A56E-4952-A867-2D7BA295DEED}" type="presOf" srcId="{F7A12529-3CED-4409-88B4-41440175BF80}" destId="{DA298790-E298-4A31-A331-A25CE00E3968}" srcOrd="0" destOrd="0" presId="urn:microsoft.com/office/officeart/2005/8/layout/hList2"/>
    <dgm:cxn modelId="{D370B0B4-107E-4249-BFAB-30E6C824B286}" type="presOf" srcId="{47575928-9ADC-4977-9CCA-A05FC71C9D27}" destId="{E2069983-7782-4A15-BC96-411534486F36}" srcOrd="0" destOrd="0" presId="urn:microsoft.com/office/officeart/2005/8/layout/hList2"/>
    <dgm:cxn modelId="{E93A64B5-C357-4822-A9A9-7C4A15A8467F}" type="presOf" srcId="{F793D2B6-FB45-488E-AC48-EC4D027A84B4}" destId="{F3A52D6A-BB84-4552-A5A1-E81D0A9FA4E8}" srcOrd="0" destOrd="1" presId="urn:microsoft.com/office/officeart/2005/8/layout/hList2"/>
    <dgm:cxn modelId="{75E761B7-A440-41C9-97A4-8BF1C083E64A}" type="presOf" srcId="{335E982B-121F-4622-A051-493E71E37168}" destId="{DA298790-E298-4A31-A331-A25CE00E3968}" srcOrd="0" destOrd="5" presId="urn:microsoft.com/office/officeart/2005/8/layout/hList2"/>
    <dgm:cxn modelId="{7C7218B8-4884-45EC-9CEB-E3C1EBB09899}" srcId="{73A28563-630B-4212-AADA-3618D4743636}" destId="{37F5BAF8-F4DF-4539-AB59-E2F4D828F26A}" srcOrd="2" destOrd="0" parTransId="{0B651A95-71C1-4730-AE36-81F3617BDD94}" sibTransId="{214DA547-F612-4BFD-B2F6-6FC5B0B2C16B}"/>
    <dgm:cxn modelId="{3595A1B9-CFEE-4337-859F-417C123B9087}" type="presOf" srcId="{193B9BE7-AED8-47A7-B923-12E9A563DDE1}" destId="{77C1F913-E2BE-4429-A2B1-A460FABD3FF8}" srcOrd="0" destOrd="0" presId="urn:microsoft.com/office/officeart/2005/8/layout/hList2"/>
    <dgm:cxn modelId="{64E7B1B9-26B0-49FB-A394-704330042CD7}" type="presOf" srcId="{8AB43B9F-492F-4304-8C5D-0784AC3B0B1B}" destId="{F3A52D6A-BB84-4552-A5A1-E81D0A9FA4E8}" srcOrd="0" destOrd="2" presId="urn:microsoft.com/office/officeart/2005/8/layout/hList2"/>
    <dgm:cxn modelId="{18ED10C2-41CD-40DD-A390-3936D01C8EC2}" srcId="{ED3D5C5D-62F2-447D-B90F-F908A4188273}" destId="{40ABD7CE-2385-41CF-92C0-4E3D56B9A006}" srcOrd="2" destOrd="0" parTransId="{3785C1A4-B01D-4006-9734-8812CC880858}" sibTransId="{A2564509-6390-492F-AA44-8B49A6853037}"/>
    <dgm:cxn modelId="{0991CFDD-9614-47D1-BC20-5FB319785225}" type="presOf" srcId="{175B0F92-0E99-431C-B98D-409D4519B2A2}" destId="{CF2F1F73-0319-460F-A746-74B2C90A87E9}" srcOrd="0" destOrd="0" presId="urn:microsoft.com/office/officeart/2005/8/layout/hList2"/>
    <dgm:cxn modelId="{C33E59DE-2196-446A-A6E0-B9C917198AAF}" srcId="{175B0F92-0E99-431C-B98D-409D4519B2A2}" destId="{73A28563-630B-4212-AADA-3618D4743636}" srcOrd="1" destOrd="0" parTransId="{95127D5B-AF3F-4F30-8BBB-9036CAE57CE8}" sibTransId="{70534440-762E-4012-8158-B17E3942E946}"/>
    <dgm:cxn modelId="{41533ADF-1B73-4AAB-95C8-86D4DBA803DC}" srcId="{ED3D5C5D-62F2-447D-B90F-F908A4188273}" destId="{D3377EA5-65B1-41E5-8733-B9CEB9643600}" srcOrd="3" destOrd="0" parTransId="{946EFE6B-50F0-4333-A52E-0888ED08938A}" sibTransId="{7611E1E5-BFE5-4209-8992-419BF1FF5504}"/>
    <dgm:cxn modelId="{7C7D43E3-BC76-4EF4-B5B8-3111EC439E30}" type="presOf" srcId="{40ABD7CE-2385-41CF-92C0-4E3D56B9A006}" destId="{DA298790-E298-4A31-A331-A25CE00E3968}" srcOrd="0" destOrd="2" presId="urn:microsoft.com/office/officeart/2005/8/layout/hList2"/>
    <dgm:cxn modelId="{95C528E4-DEE8-4E78-84FC-A530A174E9D1}" type="presOf" srcId="{A0EEA84E-35B7-44B0-9A0B-92D7E3F88F75}" destId="{DA298790-E298-4A31-A331-A25CE00E3968}" srcOrd="0" destOrd="1" presId="urn:microsoft.com/office/officeart/2005/8/layout/hList2"/>
    <dgm:cxn modelId="{733E03E9-AFCE-4740-83C0-5C938FCA6F40}" type="presOf" srcId="{B127F4FE-7812-4538-9811-47BB0D96BB83}" destId="{DA298790-E298-4A31-A331-A25CE00E3968}" srcOrd="0" destOrd="4" presId="urn:microsoft.com/office/officeart/2005/8/layout/hList2"/>
    <dgm:cxn modelId="{7F34A5F4-D870-41CF-84D5-7C56C4EA3D31}" srcId="{193B9BE7-AED8-47A7-B923-12E9A563DDE1}" destId="{887C18DD-6F2C-4AB2-A832-9BD45847E924}" srcOrd="0" destOrd="0" parTransId="{7FAF5905-79E6-4F00-9363-9FAFDC336A49}" sibTransId="{D43F4113-36D6-4947-8642-57DF697AFC9E}"/>
    <dgm:cxn modelId="{C3FE4BF9-1429-4340-BFEF-F419BCC31522}" type="presOf" srcId="{6ED359CF-CE63-4BC8-B764-89BF947BA05F}" destId="{F3A52D6A-BB84-4552-A5A1-E81D0A9FA4E8}" srcOrd="0" destOrd="3" presId="urn:microsoft.com/office/officeart/2005/8/layout/hList2"/>
    <dgm:cxn modelId="{071901FD-1683-44EC-B4C8-56421106E1DA}" srcId="{175B0F92-0E99-431C-B98D-409D4519B2A2}" destId="{ED3D5C5D-62F2-447D-B90F-F908A4188273}" srcOrd="0" destOrd="0" parTransId="{A51DC6E9-09EA-487B-B7E6-50DF58504E95}" sibTransId="{E4F25DA0-691F-45E3-AF52-AA54D958273D}"/>
    <dgm:cxn modelId="{D464C71D-46E6-441C-99E1-AE12C140B8BB}" type="presParOf" srcId="{CF2F1F73-0319-460F-A746-74B2C90A87E9}" destId="{35790C0E-5F2B-46A0-B9AE-ECB25DEA4AD5}" srcOrd="0" destOrd="0" presId="urn:microsoft.com/office/officeart/2005/8/layout/hList2"/>
    <dgm:cxn modelId="{2D9BBC38-5AEE-46DD-823E-BB7147CFE584}" type="presParOf" srcId="{35790C0E-5F2B-46A0-B9AE-ECB25DEA4AD5}" destId="{A3F0A306-227F-4CEE-976F-19EE2D23D21E}" srcOrd="0" destOrd="0" presId="urn:microsoft.com/office/officeart/2005/8/layout/hList2"/>
    <dgm:cxn modelId="{AB48B220-7811-46FC-9A96-9A94D947C8F3}" type="presParOf" srcId="{35790C0E-5F2B-46A0-B9AE-ECB25DEA4AD5}" destId="{DA298790-E298-4A31-A331-A25CE00E3968}" srcOrd="1" destOrd="0" presId="urn:microsoft.com/office/officeart/2005/8/layout/hList2"/>
    <dgm:cxn modelId="{EC7EBDF0-8473-40A0-8AC9-F77697279B75}" type="presParOf" srcId="{35790C0E-5F2B-46A0-B9AE-ECB25DEA4AD5}" destId="{EA306BC8-C901-47D8-B216-3787E18A332B}" srcOrd="2" destOrd="0" presId="urn:microsoft.com/office/officeart/2005/8/layout/hList2"/>
    <dgm:cxn modelId="{D37B57B5-86B0-421A-AD26-01ED6C676724}" type="presParOf" srcId="{CF2F1F73-0319-460F-A746-74B2C90A87E9}" destId="{B2E27F8D-FBAE-4180-BF0D-8B359D32C966}" srcOrd="1" destOrd="0" presId="urn:microsoft.com/office/officeart/2005/8/layout/hList2"/>
    <dgm:cxn modelId="{090DC03A-CEB7-4A88-89D5-DEC1BE12700F}" type="presParOf" srcId="{CF2F1F73-0319-460F-A746-74B2C90A87E9}" destId="{68077274-8BDA-4BCD-A5CD-37C4DC27D400}" srcOrd="2" destOrd="0" presId="urn:microsoft.com/office/officeart/2005/8/layout/hList2"/>
    <dgm:cxn modelId="{CB531F48-77A9-40E4-9657-4209612530AC}" type="presParOf" srcId="{68077274-8BDA-4BCD-A5CD-37C4DC27D400}" destId="{62433E2D-66E4-4ABC-A6E5-30009C21DB69}" srcOrd="0" destOrd="0" presId="urn:microsoft.com/office/officeart/2005/8/layout/hList2"/>
    <dgm:cxn modelId="{B8C3615F-B0CA-4647-8BA5-BE940CB200FC}" type="presParOf" srcId="{68077274-8BDA-4BCD-A5CD-37C4DC27D400}" destId="{E2069983-7782-4A15-BC96-411534486F36}" srcOrd="1" destOrd="0" presId="urn:microsoft.com/office/officeart/2005/8/layout/hList2"/>
    <dgm:cxn modelId="{E9F4B5E0-5842-47A9-95EB-8CD4183B8813}" type="presParOf" srcId="{68077274-8BDA-4BCD-A5CD-37C4DC27D400}" destId="{7A24BE29-B051-4F7A-9776-6833F03D0B47}" srcOrd="2" destOrd="0" presId="urn:microsoft.com/office/officeart/2005/8/layout/hList2"/>
    <dgm:cxn modelId="{E5EC0A53-1BA9-4BB1-BCBA-513694FAEF68}" type="presParOf" srcId="{CF2F1F73-0319-460F-A746-74B2C90A87E9}" destId="{BC510C0D-F94E-4EF8-AFF2-D649A69E4DFA}" srcOrd="3" destOrd="0" presId="urn:microsoft.com/office/officeart/2005/8/layout/hList2"/>
    <dgm:cxn modelId="{9736A5A9-D0F9-4C4B-BBC5-D05F15C9D69E}" type="presParOf" srcId="{CF2F1F73-0319-460F-A746-74B2C90A87E9}" destId="{F987F469-4F95-4D7B-B05A-6D63F33DF86E}" srcOrd="4" destOrd="0" presId="urn:microsoft.com/office/officeart/2005/8/layout/hList2"/>
    <dgm:cxn modelId="{730B4FD3-7109-4964-B0B2-1E32FF1AF576}" type="presParOf" srcId="{F987F469-4F95-4D7B-B05A-6D63F33DF86E}" destId="{B63F6120-DBA3-4DB3-BF7C-B8AF890F46F0}" srcOrd="0" destOrd="0" presId="urn:microsoft.com/office/officeart/2005/8/layout/hList2"/>
    <dgm:cxn modelId="{7735CDCC-F73D-4177-BDE1-801F7B119279}" type="presParOf" srcId="{F987F469-4F95-4D7B-B05A-6D63F33DF86E}" destId="{F3A52D6A-BB84-4552-A5A1-E81D0A9FA4E8}" srcOrd="1" destOrd="0" presId="urn:microsoft.com/office/officeart/2005/8/layout/hList2"/>
    <dgm:cxn modelId="{C8147F2A-11F2-4729-8E15-E063C2BB22DA}" type="presParOf" srcId="{F987F469-4F95-4D7B-B05A-6D63F33DF86E}" destId="{77C1F913-E2BE-4429-A2B1-A460FABD3FF8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514B840E-7C1A-4543-97C8-4760A41B7481}" type="doc">
      <dgm:prSet loTypeId="urn:microsoft.com/office/officeart/2005/8/layout/cycle4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0F8A73A5-0CD8-4A62-9210-E6A18F403058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Fach-kompetenz</a:t>
          </a:r>
        </a:p>
      </dgm:t>
    </dgm:pt>
    <dgm:pt modelId="{A3B00945-F0F8-43A7-A743-06996547CE5E}" type="parTrans" cxnId="{AD6D0AF6-1497-47F9-AA47-2F7A931A0A8F}">
      <dgm:prSet/>
      <dgm:spPr/>
      <dgm:t>
        <a:bodyPr/>
        <a:lstStyle/>
        <a:p>
          <a:endParaRPr lang="de-DE"/>
        </a:p>
      </dgm:t>
    </dgm:pt>
    <dgm:pt modelId="{1E25B9EB-4A13-4313-9A9C-E14FF875A5F4}" type="sibTrans" cxnId="{AD6D0AF6-1497-47F9-AA47-2F7A931A0A8F}">
      <dgm:prSet/>
      <dgm:spPr/>
      <dgm:t>
        <a:bodyPr/>
        <a:lstStyle/>
        <a:p>
          <a:endParaRPr lang="de-DE"/>
        </a:p>
      </dgm:t>
    </dgm:pt>
    <dgm:pt modelId="{85D6228B-5808-4D9D-985E-C3E84108C4C4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Methoden-kompetenz</a:t>
          </a:r>
        </a:p>
      </dgm:t>
    </dgm:pt>
    <dgm:pt modelId="{B40ADFEF-07B9-44DA-997B-AF61508EAD43}" type="parTrans" cxnId="{FA1A02E7-2E23-4B0F-91F6-96E26BED72EB}">
      <dgm:prSet/>
      <dgm:spPr/>
      <dgm:t>
        <a:bodyPr/>
        <a:lstStyle/>
        <a:p>
          <a:endParaRPr lang="de-DE"/>
        </a:p>
      </dgm:t>
    </dgm:pt>
    <dgm:pt modelId="{C16E5357-26A7-4269-A12A-8DC8FD32CC3C}" type="sibTrans" cxnId="{FA1A02E7-2E23-4B0F-91F6-96E26BED72EB}">
      <dgm:prSet/>
      <dgm:spPr/>
      <dgm:t>
        <a:bodyPr/>
        <a:lstStyle/>
        <a:p>
          <a:endParaRPr lang="de-DE"/>
        </a:p>
      </dgm:t>
    </dgm:pt>
    <dgm:pt modelId="{E420595E-3BB3-47B3-87D6-18621A920760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Sozial-kompetenz</a:t>
          </a:r>
        </a:p>
      </dgm:t>
    </dgm:pt>
    <dgm:pt modelId="{C658A1C6-F92F-4712-8BCB-CAABC8DBCDD2}" type="parTrans" cxnId="{AD545EC1-DE4F-4791-9803-7250CB8D20B2}">
      <dgm:prSet/>
      <dgm:spPr/>
      <dgm:t>
        <a:bodyPr/>
        <a:lstStyle/>
        <a:p>
          <a:endParaRPr lang="de-DE"/>
        </a:p>
      </dgm:t>
    </dgm:pt>
    <dgm:pt modelId="{5F2D0CAD-CCDA-48D1-8A5E-17D864691BA0}" type="sibTrans" cxnId="{AD545EC1-DE4F-4791-9803-7250CB8D20B2}">
      <dgm:prSet/>
      <dgm:spPr/>
      <dgm:t>
        <a:bodyPr/>
        <a:lstStyle/>
        <a:p>
          <a:endParaRPr lang="de-DE"/>
        </a:p>
      </dgm:t>
    </dgm:pt>
    <dgm:pt modelId="{881AC23E-9CB5-4FB4-BE01-2F14AD422EF2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Personal-kompetenz</a:t>
          </a:r>
        </a:p>
      </dgm:t>
    </dgm:pt>
    <dgm:pt modelId="{94DEDD9A-0175-4ABD-AED0-CB22A05A3CF5}" type="parTrans" cxnId="{19F7B47A-20C3-43FD-9AA3-D8C96FE2A962}">
      <dgm:prSet/>
      <dgm:spPr/>
      <dgm:t>
        <a:bodyPr/>
        <a:lstStyle/>
        <a:p>
          <a:endParaRPr lang="de-DE"/>
        </a:p>
      </dgm:t>
    </dgm:pt>
    <dgm:pt modelId="{D9567C41-F206-4891-AE03-CFF5D7970925}" type="sibTrans" cxnId="{19F7B47A-20C3-43FD-9AA3-D8C96FE2A962}">
      <dgm:prSet/>
      <dgm:spPr/>
      <dgm:t>
        <a:bodyPr/>
        <a:lstStyle/>
        <a:p>
          <a:endParaRPr lang="de-DE"/>
        </a:p>
      </dgm:t>
    </dgm:pt>
    <dgm:pt modelId="{7F3B5232-69A0-41A4-97E8-18F67F372367}" type="pres">
      <dgm:prSet presAssocID="{514B840E-7C1A-4543-97C8-4760A41B74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A571178D-11F2-4FE7-80D4-FCE1287108AA}" type="pres">
      <dgm:prSet presAssocID="{514B840E-7C1A-4543-97C8-4760A41B7481}" presName="children" presStyleCnt="0"/>
      <dgm:spPr/>
    </dgm:pt>
    <dgm:pt modelId="{A44CFAF9-1303-49FF-A9C8-8EDBFDADF7AF}" type="pres">
      <dgm:prSet presAssocID="{514B840E-7C1A-4543-97C8-4760A41B7481}" presName="childPlaceholder" presStyleCnt="0"/>
      <dgm:spPr/>
    </dgm:pt>
    <dgm:pt modelId="{566EF2F5-869E-4BAF-9EA6-DAEDE3BF8207}" type="pres">
      <dgm:prSet presAssocID="{514B840E-7C1A-4543-97C8-4760A41B7481}" presName="circle" presStyleCnt="0"/>
      <dgm:spPr/>
    </dgm:pt>
    <dgm:pt modelId="{20653187-C3F3-4386-88F7-9E868007E750}" type="pres">
      <dgm:prSet presAssocID="{514B840E-7C1A-4543-97C8-4760A41B74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D59D96E-82A6-4612-BA89-3E5323DE8885}" type="pres">
      <dgm:prSet presAssocID="{514B840E-7C1A-4543-97C8-4760A41B74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F524F590-1BEB-40A7-B022-D74430C54FD7}" type="pres">
      <dgm:prSet presAssocID="{514B840E-7C1A-4543-97C8-4760A41B74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20659C38-E743-4B14-9908-4F8DDC1CA57D}" type="pres">
      <dgm:prSet presAssocID="{514B840E-7C1A-4543-97C8-4760A41B74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02CCC310-738E-48A9-8B50-9320E0DB85DC}" type="pres">
      <dgm:prSet presAssocID="{514B840E-7C1A-4543-97C8-4760A41B7481}" presName="quadrantPlaceholder" presStyleCnt="0"/>
      <dgm:spPr/>
    </dgm:pt>
    <dgm:pt modelId="{8A30DC33-EEC1-4E2D-8153-37CA203BDF71}" type="pres">
      <dgm:prSet presAssocID="{514B840E-7C1A-4543-97C8-4760A41B7481}" presName="center1" presStyleLbl="fgShp" presStyleIdx="0" presStyleCnt="2"/>
      <dgm:spPr/>
    </dgm:pt>
    <dgm:pt modelId="{4EF58E0E-7F99-4F9A-993A-3AD72F2450B2}" type="pres">
      <dgm:prSet presAssocID="{514B840E-7C1A-4543-97C8-4760A41B7481}" presName="center2" presStyleLbl="fgShp" presStyleIdx="1" presStyleCnt="2"/>
      <dgm:spPr/>
    </dgm:pt>
  </dgm:ptLst>
  <dgm:cxnLst>
    <dgm:cxn modelId="{073F1C0D-ADA7-498B-8839-D8F923E5FCF9}" type="presOf" srcId="{881AC23E-9CB5-4FB4-BE01-2F14AD422EF2}" destId="{20659C38-E743-4B14-9908-4F8DDC1CA57D}" srcOrd="0" destOrd="0" presId="urn:microsoft.com/office/officeart/2005/8/layout/cycle4"/>
    <dgm:cxn modelId="{64DCD05C-FE95-4830-B67C-9A3F4419D0B3}" type="presOf" srcId="{E420595E-3BB3-47B3-87D6-18621A920760}" destId="{F524F590-1BEB-40A7-B022-D74430C54FD7}" srcOrd="0" destOrd="0" presId="urn:microsoft.com/office/officeart/2005/8/layout/cycle4"/>
    <dgm:cxn modelId="{1B493859-F6CE-41A9-9899-DBB5917DFD91}" type="presOf" srcId="{0F8A73A5-0CD8-4A62-9210-E6A18F403058}" destId="{20653187-C3F3-4386-88F7-9E868007E750}" srcOrd="0" destOrd="0" presId="urn:microsoft.com/office/officeart/2005/8/layout/cycle4"/>
    <dgm:cxn modelId="{19F7B47A-20C3-43FD-9AA3-D8C96FE2A962}" srcId="{514B840E-7C1A-4543-97C8-4760A41B7481}" destId="{881AC23E-9CB5-4FB4-BE01-2F14AD422EF2}" srcOrd="3" destOrd="0" parTransId="{94DEDD9A-0175-4ABD-AED0-CB22A05A3CF5}" sibTransId="{D9567C41-F206-4891-AE03-CFF5D7970925}"/>
    <dgm:cxn modelId="{CF9F2EAD-E7CA-430B-911B-EEE16C854C91}" type="presOf" srcId="{85D6228B-5808-4D9D-985E-C3E84108C4C4}" destId="{BD59D96E-82A6-4612-BA89-3E5323DE8885}" srcOrd="0" destOrd="0" presId="urn:microsoft.com/office/officeart/2005/8/layout/cycle4"/>
    <dgm:cxn modelId="{AD545EC1-DE4F-4791-9803-7250CB8D20B2}" srcId="{514B840E-7C1A-4543-97C8-4760A41B7481}" destId="{E420595E-3BB3-47B3-87D6-18621A920760}" srcOrd="2" destOrd="0" parTransId="{C658A1C6-F92F-4712-8BCB-CAABC8DBCDD2}" sibTransId="{5F2D0CAD-CCDA-48D1-8A5E-17D864691BA0}"/>
    <dgm:cxn modelId="{E02291C9-52EC-4A10-825A-F216C0FCD8C9}" type="presOf" srcId="{514B840E-7C1A-4543-97C8-4760A41B7481}" destId="{7F3B5232-69A0-41A4-97E8-18F67F372367}" srcOrd="0" destOrd="0" presId="urn:microsoft.com/office/officeart/2005/8/layout/cycle4"/>
    <dgm:cxn modelId="{FA1A02E7-2E23-4B0F-91F6-96E26BED72EB}" srcId="{514B840E-7C1A-4543-97C8-4760A41B7481}" destId="{85D6228B-5808-4D9D-985E-C3E84108C4C4}" srcOrd="1" destOrd="0" parTransId="{B40ADFEF-07B9-44DA-997B-AF61508EAD43}" sibTransId="{C16E5357-26A7-4269-A12A-8DC8FD32CC3C}"/>
    <dgm:cxn modelId="{AD6D0AF6-1497-47F9-AA47-2F7A931A0A8F}" srcId="{514B840E-7C1A-4543-97C8-4760A41B7481}" destId="{0F8A73A5-0CD8-4A62-9210-E6A18F403058}" srcOrd="0" destOrd="0" parTransId="{A3B00945-F0F8-43A7-A743-06996547CE5E}" sibTransId="{1E25B9EB-4A13-4313-9A9C-E14FF875A5F4}"/>
    <dgm:cxn modelId="{E161AD4C-7BCC-4F8B-B614-03A3BF4C7906}" type="presParOf" srcId="{7F3B5232-69A0-41A4-97E8-18F67F372367}" destId="{A571178D-11F2-4FE7-80D4-FCE1287108AA}" srcOrd="0" destOrd="0" presId="urn:microsoft.com/office/officeart/2005/8/layout/cycle4"/>
    <dgm:cxn modelId="{ED3DF653-5637-465D-96C7-EBCC66A3CA3A}" type="presParOf" srcId="{A571178D-11F2-4FE7-80D4-FCE1287108AA}" destId="{A44CFAF9-1303-49FF-A9C8-8EDBFDADF7AF}" srcOrd="0" destOrd="0" presId="urn:microsoft.com/office/officeart/2005/8/layout/cycle4"/>
    <dgm:cxn modelId="{8BA22394-E509-42FA-9F0C-AB653AC78610}" type="presParOf" srcId="{7F3B5232-69A0-41A4-97E8-18F67F372367}" destId="{566EF2F5-869E-4BAF-9EA6-DAEDE3BF8207}" srcOrd="1" destOrd="0" presId="urn:microsoft.com/office/officeart/2005/8/layout/cycle4"/>
    <dgm:cxn modelId="{2CE07E15-85AF-4387-A7CF-4AAE121F093C}" type="presParOf" srcId="{566EF2F5-869E-4BAF-9EA6-DAEDE3BF8207}" destId="{20653187-C3F3-4386-88F7-9E868007E750}" srcOrd="0" destOrd="0" presId="urn:microsoft.com/office/officeart/2005/8/layout/cycle4"/>
    <dgm:cxn modelId="{BC043D04-DD60-45B4-9DC2-644DEC51DF41}" type="presParOf" srcId="{566EF2F5-869E-4BAF-9EA6-DAEDE3BF8207}" destId="{BD59D96E-82A6-4612-BA89-3E5323DE8885}" srcOrd="1" destOrd="0" presId="urn:microsoft.com/office/officeart/2005/8/layout/cycle4"/>
    <dgm:cxn modelId="{D6288828-A027-4F1F-8650-4052C68BE0D3}" type="presParOf" srcId="{566EF2F5-869E-4BAF-9EA6-DAEDE3BF8207}" destId="{F524F590-1BEB-40A7-B022-D74430C54FD7}" srcOrd="2" destOrd="0" presId="urn:microsoft.com/office/officeart/2005/8/layout/cycle4"/>
    <dgm:cxn modelId="{0CDF6238-9479-4F04-BA11-A7D287B3F717}" type="presParOf" srcId="{566EF2F5-869E-4BAF-9EA6-DAEDE3BF8207}" destId="{20659C38-E743-4B14-9908-4F8DDC1CA57D}" srcOrd="3" destOrd="0" presId="urn:microsoft.com/office/officeart/2005/8/layout/cycle4"/>
    <dgm:cxn modelId="{798FE094-1351-44A2-AD23-DB4A79E6BCAC}" type="presParOf" srcId="{566EF2F5-869E-4BAF-9EA6-DAEDE3BF8207}" destId="{02CCC310-738E-48A9-8B50-9320E0DB85DC}" srcOrd="4" destOrd="0" presId="urn:microsoft.com/office/officeart/2005/8/layout/cycle4"/>
    <dgm:cxn modelId="{AF0096D8-18F1-48BD-ABD4-BD92C2DA7610}" type="presParOf" srcId="{7F3B5232-69A0-41A4-97E8-18F67F372367}" destId="{8A30DC33-EEC1-4E2D-8153-37CA203BDF71}" srcOrd="2" destOrd="0" presId="urn:microsoft.com/office/officeart/2005/8/layout/cycle4"/>
    <dgm:cxn modelId="{D4011061-D562-4C3A-B501-00AC4ADDA28D}" type="presParOf" srcId="{7F3B5232-69A0-41A4-97E8-18F67F372367}" destId="{4EF58E0E-7F99-4F9A-993A-3AD72F2450B2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514B840E-7C1A-4543-97C8-4760A41B7481}" type="doc">
      <dgm:prSet loTypeId="urn:microsoft.com/office/officeart/2005/8/layout/cycle4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0F8A73A5-0CD8-4A62-9210-E6A18F403058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Fach-kompetenz</a:t>
          </a:r>
        </a:p>
      </dgm:t>
    </dgm:pt>
    <dgm:pt modelId="{A3B00945-F0F8-43A7-A743-06996547CE5E}" type="parTrans" cxnId="{AD6D0AF6-1497-47F9-AA47-2F7A931A0A8F}">
      <dgm:prSet/>
      <dgm:spPr/>
      <dgm:t>
        <a:bodyPr/>
        <a:lstStyle/>
        <a:p>
          <a:endParaRPr lang="de-DE"/>
        </a:p>
      </dgm:t>
    </dgm:pt>
    <dgm:pt modelId="{1E25B9EB-4A13-4313-9A9C-E14FF875A5F4}" type="sibTrans" cxnId="{AD6D0AF6-1497-47F9-AA47-2F7A931A0A8F}">
      <dgm:prSet/>
      <dgm:spPr/>
      <dgm:t>
        <a:bodyPr/>
        <a:lstStyle/>
        <a:p>
          <a:endParaRPr lang="de-DE"/>
        </a:p>
      </dgm:t>
    </dgm:pt>
    <dgm:pt modelId="{85D6228B-5808-4D9D-985E-C3E84108C4C4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Methoden-kompetenz</a:t>
          </a:r>
        </a:p>
      </dgm:t>
    </dgm:pt>
    <dgm:pt modelId="{B40ADFEF-07B9-44DA-997B-AF61508EAD43}" type="parTrans" cxnId="{FA1A02E7-2E23-4B0F-91F6-96E26BED72EB}">
      <dgm:prSet/>
      <dgm:spPr/>
      <dgm:t>
        <a:bodyPr/>
        <a:lstStyle/>
        <a:p>
          <a:endParaRPr lang="de-DE"/>
        </a:p>
      </dgm:t>
    </dgm:pt>
    <dgm:pt modelId="{C16E5357-26A7-4269-A12A-8DC8FD32CC3C}" type="sibTrans" cxnId="{FA1A02E7-2E23-4B0F-91F6-96E26BED72EB}">
      <dgm:prSet/>
      <dgm:spPr/>
      <dgm:t>
        <a:bodyPr/>
        <a:lstStyle/>
        <a:p>
          <a:endParaRPr lang="de-DE"/>
        </a:p>
      </dgm:t>
    </dgm:pt>
    <dgm:pt modelId="{E420595E-3BB3-47B3-87D6-18621A920760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Sozial-kompetenz</a:t>
          </a:r>
        </a:p>
      </dgm:t>
    </dgm:pt>
    <dgm:pt modelId="{C658A1C6-F92F-4712-8BCB-CAABC8DBCDD2}" type="parTrans" cxnId="{AD545EC1-DE4F-4791-9803-7250CB8D20B2}">
      <dgm:prSet/>
      <dgm:spPr/>
      <dgm:t>
        <a:bodyPr/>
        <a:lstStyle/>
        <a:p>
          <a:endParaRPr lang="de-DE"/>
        </a:p>
      </dgm:t>
    </dgm:pt>
    <dgm:pt modelId="{5F2D0CAD-CCDA-48D1-8A5E-17D864691BA0}" type="sibTrans" cxnId="{AD545EC1-DE4F-4791-9803-7250CB8D20B2}">
      <dgm:prSet/>
      <dgm:spPr/>
      <dgm:t>
        <a:bodyPr/>
        <a:lstStyle/>
        <a:p>
          <a:endParaRPr lang="de-DE"/>
        </a:p>
      </dgm:t>
    </dgm:pt>
    <dgm:pt modelId="{881AC23E-9CB5-4FB4-BE01-2F14AD422EF2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Personal-kompetenz</a:t>
          </a:r>
        </a:p>
      </dgm:t>
    </dgm:pt>
    <dgm:pt modelId="{94DEDD9A-0175-4ABD-AED0-CB22A05A3CF5}" type="parTrans" cxnId="{19F7B47A-20C3-43FD-9AA3-D8C96FE2A962}">
      <dgm:prSet/>
      <dgm:spPr/>
      <dgm:t>
        <a:bodyPr/>
        <a:lstStyle/>
        <a:p>
          <a:endParaRPr lang="de-DE"/>
        </a:p>
      </dgm:t>
    </dgm:pt>
    <dgm:pt modelId="{D9567C41-F206-4891-AE03-CFF5D7970925}" type="sibTrans" cxnId="{19F7B47A-20C3-43FD-9AA3-D8C96FE2A962}">
      <dgm:prSet/>
      <dgm:spPr/>
      <dgm:t>
        <a:bodyPr/>
        <a:lstStyle/>
        <a:p>
          <a:endParaRPr lang="de-DE"/>
        </a:p>
      </dgm:t>
    </dgm:pt>
    <dgm:pt modelId="{7F3B5232-69A0-41A4-97E8-18F67F372367}" type="pres">
      <dgm:prSet presAssocID="{514B840E-7C1A-4543-97C8-4760A41B74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A571178D-11F2-4FE7-80D4-FCE1287108AA}" type="pres">
      <dgm:prSet presAssocID="{514B840E-7C1A-4543-97C8-4760A41B7481}" presName="children" presStyleCnt="0"/>
      <dgm:spPr/>
    </dgm:pt>
    <dgm:pt modelId="{A44CFAF9-1303-49FF-A9C8-8EDBFDADF7AF}" type="pres">
      <dgm:prSet presAssocID="{514B840E-7C1A-4543-97C8-4760A41B7481}" presName="childPlaceholder" presStyleCnt="0"/>
      <dgm:spPr/>
    </dgm:pt>
    <dgm:pt modelId="{566EF2F5-869E-4BAF-9EA6-DAEDE3BF8207}" type="pres">
      <dgm:prSet presAssocID="{514B840E-7C1A-4543-97C8-4760A41B7481}" presName="circle" presStyleCnt="0"/>
      <dgm:spPr/>
    </dgm:pt>
    <dgm:pt modelId="{20653187-C3F3-4386-88F7-9E868007E750}" type="pres">
      <dgm:prSet presAssocID="{514B840E-7C1A-4543-97C8-4760A41B74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D59D96E-82A6-4612-BA89-3E5323DE8885}" type="pres">
      <dgm:prSet presAssocID="{514B840E-7C1A-4543-97C8-4760A41B74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F524F590-1BEB-40A7-B022-D74430C54FD7}" type="pres">
      <dgm:prSet presAssocID="{514B840E-7C1A-4543-97C8-4760A41B74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20659C38-E743-4B14-9908-4F8DDC1CA57D}" type="pres">
      <dgm:prSet presAssocID="{514B840E-7C1A-4543-97C8-4760A41B74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02CCC310-738E-48A9-8B50-9320E0DB85DC}" type="pres">
      <dgm:prSet presAssocID="{514B840E-7C1A-4543-97C8-4760A41B7481}" presName="quadrantPlaceholder" presStyleCnt="0"/>
      <dgm:spPr/>
    </dgm:pt>
    <dgm:pt modelId="{8A30DC33-EEC1-4E2D-8153-37CA203BDF71}" type="pres">
      <dgm:prSet presAssocID="{514B840E-7C1A-4543-97C8-4760A41B7481}" presName="center1" presStyleLbl="fgShp" presStyleIdx="0" presStyleCnt="2"/>
      <dgm:spPr/>
    </dgm:pt>
    <dgm:pt modelId="{4EF58E0E-7F99-4F9A-993A-3AD72F2450B2}" type="pres">
      <dgm:prSet presAssocID="{514B840E-7C1A-4543-97C8-4760A41B7481}" presName="center2" presStyleLbl="fgShp" presStyleIdx="1" presStyleCnt="2"/>
      <dgm:spPr/>
    </dgm:pt>
  </dgm:ptLst>
  <dgm:cxnLst>
    <dgm:cxn modelId="{073F1C0D-ADA7-498B-8839-D8F923E5FCF9}" type="presOf" srcId="{881AC23E-9CB5-4FB4-BE01-2F14AD422EF2}" destId="{20659C38-E743-4B14-9908-4F8DDC1CA57D}" srcOrd="0" destOrd="0" presId="urn:microsoft.com/office/officeart/2005/8/layout/cycle4"/>
    <dgm:cxn modelId="{64DCD05C-FE95-4830-B67C-9A3F4419D0B3}" type="presOf" srcId="{E420595E-3BB3-47B3-87D6-18621A920760}" destId="{F524F590-1BEB-40A7-B022-D74430C54FD7}" srcOrd="0" destOrd="0" presId="urn:microsoft.com/office/officeart/2005/8/layout/cycle4"/>
    <dgm:cxn modelId="{1B493859-F6CE-41A9-9899-DBB5917DFD91}" type="presOf" srcId="{0F8A73A5-0CD8-4A62-9210-E6A18F403058}" destId="{20653187-C3F3-4386-88F7-9E868007E750}" srcOrd="0" destOrd="0" presId="urn:microsoft.com/office/officeart/2005/8/layout/cycle4"/>
    <dgm:cxn modelId="{19F7B47A-20C3-43FD-9AA3-D8C96FE2A962}" srcId="{514B840E-7C1A-4543-97C8-4760A41B7481}" destId="{881AC23E-9CB5-4FB4-BE01-2F14AD422EF2}" srcOrd="3" destOrd="0" parTransId="{94DEDD9A-0175-4ABD-AED0-CB22A05A3CF5}" sibTransId="{D9567C41-F206-4891-AE03-CFF5D7970925}"/>
    <dgm:cxn modelId="{CF9F2EAD-E7CA-430B-911B-EEE16C854C91}" type="presOf" srcId="{85D6228B-5808-4D9D-985E-C3E84108C4C4}" destId="{BD59D96E-82A6-4612-BA89-3E5323DE8885}" srcOrd="0" destOrd="0" presId="urn:microsoft.com/office/officeart/2005/8/layout/cycle4"/>
    <dgm:cxn modelId="{AD545EC1-DE4F-4791-9803-7250CB8D20B2}" srcId="{514B840E-7C1A-4543-97C8-4760A41B7481}" destId="{E420595E-3BB3-47B3-87D6-18621A920760}" srcOrd="2" destOrd="0" parTransId="{C658A1C6-F92F-4712-8BCB-CAABC8DBCDD2}" sibTransId="{5F2D0CAD-CCDA-48D1-8A5E-17D864691BA0}"/>
    <dgm:cxn modelId="{E02291C9-52EC-4A10-825A-F216C0FCD8C9}" type="presOf" srcId="{514B840E-7C1A-4543-97C8-4760A41B7481}" destId="{7F3B5232-69A0-41A4-97E8-18F67F372367}" srcOrd="0" destOrd="0" presId="urn:microsoft.com/office/officeart/2005/8/layout/cycle4"/>
    <dgm:cxn modelId="{FA1A02E7-2E23-4B0F-91F6-96E26BED72EB}" srcId="{514B840E-7C1A-4543-97C8-4760A41B7481}" destId="{85D6228B-5808-4D9D-985E-C3E84108C4C4}" srcOrd="1" destOrd="0" parTransId="{B40ADFEF-07B9-44DA-997B-AF61508EAD43}" sibTransId="{C16E5357-26A7-4269-A12A-8DC8FD32CC3C}"/>
    <dgm:cxn modelId="{AD6D0AF6-1497-47F9-AA47-2F7A931A0A8F}" srcId="{514B840E-7C1A-4543-97C8-4760A41B7481}" destId="{0F8A73A5-0CD8-4A62-9210-E6A18F403058}" srcOrd="0" destOrd="0" parTransId="{A3B00945-F0F8-43A7-A743-06996547CE5E}" sibTransId="{1E25B9EB-4A13-4313-9A9C-E14FF875A5F4}"/>
    <dgm:cxn modelId="{E161AD4C-7BCC-4F8B-B614-03A3BF4C7906}" type="presParOf" srcId="{7F3B5232-69A0-41A4-97E8-18F67F372367}" destId="{A571178D-11F2-4FE7-80D4-FCE1287108AA}" srcOrd="0" destOrd="0" presId="urn:microsoft.com/office/officeart/2005/8/layout/cycle4"/>
    <dgm:cxn modelId="{ED3DF653-5637-465D-96C7-EBCC66A3CA3A}" type="presParOf" srcId="{A571178D-11F2-4FE7-80D4-FCE1287108AA}" destId="{A44CFAF9-1303-49FF-A9C8-8EDBFDADF7AF}" srcOrd="0" destOrd="0" presId="urn:microsoft.com/office/officeart/2005/8/layout/cycle4"/>
    <dgm:cxn modelId="{8BA22394-E509-42FA-9F0C-AB653AC78610}" type="presParOf" srcId="{7F3B5232-69A0-41A4-97E8-18F67F372367}" destId="{566EF2F5-869E-4BAF-9EA6-DAEDE3BF8207}" srcOrd="1" destOrd="0" presId="urn:microsoft.com/office/officeart/2005/8/layout/cycle4"/>
    <dgm:cxn modelId="{2CE07E15-85AF-4387-A7CF-4AAE121F093C}" type="presParOf" srcId="{566EF2F5-869E-4BAF-9EA6-DAEDE3BF8207}" destId="{20653187-C3F3-4386-88F7-9E868007E750}" srcOrd="0" destOrd="0" presId="urn:microsoft.com/office/officeart/2005/8/layout/cycle4"/>
    <dgm:cxn modelId="{BC043D04-DD60-45B4-9DC2-644DEC51DF41}" type="presParOf" srcId="{566EF2F5-869E-4BAF-9EA6-DAEDE3BF8207}" destId="{BD59D96E-82A6-4612-BA89-3E5323DE8885}" srcOrd="1" destOrd="0" presId="urn:microsoft.com/office/officeart/2005/8/layout/cycle4"/>
    <dgm:cxn modelId="{D6288828-A027-4F1F-8650-4052C68BE0D3}" type="presParOf" srcId="{566EF2F5-869E-4BAF-9EA6-DAEDE3BF8207}" destId="{F524F590-1BEB-40A7-B022-D74430C54FD7}" srcOrd="2" destOrd="0" presId="urn:microsoft.com/office/officeart/2005/8/layout/cycle4"/>
    <dgm:cxn modelId="{0CDF6238-9479-4F04-BA11-A7D287B3F717}" type="presParOf" srcId="{566EF2F5-869E-4BAF-9EA6-DAEDE3BF8207}" destId="{20659C38-E743-4B14-9908-4F8DDC1CA57D}" srcOrd="3" destOrd="0" presId="urn:microsoft.com/office/officeart/2005/8/layout/cycle4"/>
    <dgm:cxn modelId="{798FE094-1351-44A2-AD23-DB4A79E6BCAC}" type="presParOf" srcId="{566EF2F5-869E-4BAF-9EA6-DAEDE3BF8207}" destId="{02CCC310-738E-48A9-8B50-9320E0DB85DC}" srcOrd="4" destOrd="0" presId="urn:microsoft.com/office/officeart/2005/8/layout/cycle4"/>
    <dgm:cxn modelId="{AF0096D8-18F1-48BD-ABD4-BD92C2DA7610}" type="presParOf" srcId="{7F3B5232-69A0-41A4-97E8-18F67F372367}" destId="{8A30DC33-EEC1-4E2D-8153-37CA203BDF71}" srcOrd="2" destOrd="0" presId="urn:microsoft.com/office/officeart/2005/8/layout/cycle4"/>
    <dgm:cxn modelId="{D4011061-D562-4C3A-B501-00AC4ADDA28D}" type="presParOf" srcId="{7F3B5232-69A0-41A4-97E8-18F67F372367}" destId="{4EF58E0E-7F99-4F9A-993A-3AD72F2450B2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514B840E-7C1A-4543-97C8-4760A41B7481}" type="doc">
      <dgm:prSet loTypeId="urn:microsoft.com/office/officeart/2005/8/layout/cycle4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0F8A73A5-0CD8-4A62-9210-E6A18F403058}">
      <dgm:prSet phldrT="[Text]" custT="1"/>
      <dgm:spPr/>
      <dgm:t>
        <a:bodyPr/>
        <a:lstStyle/>
        <a:p>
          <a:r>
            <a:rPr lang="de-DE" sz="1050" b="1" dirty="0">
              <a:solidFill>
                <a:schemeClr val="tx1"/>
              </a:solidFill>
            </a:rPr>
            <a:t>Fach-kompetenz</a:t>
          </a:r>
        </a:p>
      </dgm:t>
    </dgm:pt>
    <dgm:pt modelId="{A3B00945-F0F8-43A7-A743-06996547CE5E}" type="parTrans" cxnId="{AD6D0AF6-1497-47F9-AA47-2F7A931A0A8F}">
      <dgm:prSet/>
      <dgm:spPr/>
      <dgm:t>
        <a:bodyPr/>
        <a:lstStyle/>
        <a:p>
          <a:endParaRPr lang="de-DE"/>
        </a:p>
      </dgm:t>
    </dgm:pt>
    <dgm:pt modelId="{1E25B9EB-4A13-4313-9A9C-E14FF875A5F4}" type="sibTrans" cxnId="{AD6D0AF6-1497-47F9-AA47-2F7A931A0A8F}">
      <dgm:prSet/>
      <dgm:spPr/>
      <dgm:t>
        <a:bodyPr/>
        <a:lstStyle/>
        <a:p>
          <a:endParaRPr lang="de-DE"/>
        </a:p>
      </dgm:t>
    </dgm:pt>
    <dgm:pt modelId="{85D6228B-5808-4D9D-985E-C3E84108C4C4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Methoden-kompetenz</a:t>
          </a:r>
        </a:p>
      </dgm:t>
    </dgm:pt>
    <dgm:pt modelId="{B40ADFEF-07B9-44DA-997B-AF61508EAD43}" type="parTrans" cxnId="{FA1A02E7-2E23-4B0F-91F6-96E26BED72EB}">
      <dgm:prSet/>
      <dgm:spPr/>
      <dgm:t>
        <a:bodyPr/>
        <a:lstStyle/>
        <a:p>
          <a:endParaRPr lang="de-DE"/>
        </a:p>
      </dgm:t>
    </dgm:pt>
    <dgm:pt modelId="{C16E5357-26A7-4269-A12A-8DC8FD32CC3C}" type="sibTrans" cxnId="{FA1A02E7-2E23-4B0F-91F6-96E26BED72EB}">
      <dgm:prSet/>
      <dgm:spPr/>
      <dgm:t>
        <a:bodyPr/>
        <a:lstStyle/>
        <a:p>
          <a:endParaRPr lang="de-DE"/>
        </a:p>
      </dgm:t>
    </dgm:pt>
    <dgm:pt modelId="{E420595E-3BB3-47B3-87D6-18621A920760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Sozial-kompetenz</a:t>
          </a:r>
        </a:p>
      </dgm:t>
    </dgm:pt>
    <dgm:pt modelId="{C658A1C6-F92F-4712-8BCB-CAABC8DBCDD2}" type="parTrans" cxnId="{AD545EC1-DE4F-4791-9803-7250CB8D20B2}">
      <dgm:prSet/>
      <dgm:spPr/>
      <dgm:t>
        <a:bodyPr/>
        <a:lstStyle/>
        <a:p>
          <a:endParaRPr lang="de-DE"/>
        </a:p>
      </dgm:t>
    </dgm:pt>
    <dgm:pt modelId="{5F2D0CAD-CCDA-48D1-8A5E-17D864691BA0}" type="sibTrans" cxnId="{AD545EC1-DE4F-4791-9803-7250CB8D20B2}">
      <dgm:prSet/>
      <dgm:spPr/>
      <dgm:t>
        <a:bodyPr/>
        <a:lstStyle/>
        <a:p>
          <a:endParaRPr lang="de-DE"/>
        </a:p>
      </dgm:t>
    </dgm:pt>
    <dgm:pt modelId="{881AC23E-9CB5-4FB4-BE01-2F14AD422EF2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Personal-kompetenz</a:t>
          </a:r>
        </a:p>
      </dgm:t>
    </dgm:pt>
    <dgm:pt modelId="{94DEDD9A-0175-4ABD-AED0-CB22A05A3CF5}" type="parTrans" cxnId="{19F7B47A-20C3-43FD-9AA3-D8C96FE2A962}">
      <dgm:prSet/>
      <dgm:spPr/>
      <dgm:t>
        <a:bodyPr/>
        <a:lstStyle/>
        <a:p>
          <a:endParaRPr lang="de-DE"/>
        </a:p>
      </dgm:t>
    </dgm:pt>
    <dgm:pt modelId="{D9567C41-F206-4891-AE03-CFF5D7970925}" type="sibTrans" cxnId="{19F7B47A-20C3-43FD-9AA3-D8C96FE2A962}">
      <dgm:prSet/>
      <dgm:spPr/>
      <dgm:t>
        <a:bodyPr/>
        <a:lstStyle/>
        <a:p>
          <a:endParaRPr lang="de-DE"/>
        </a:p>
      </dgm:t>
    </dgm:pt>
    <dgm:pt modelId="{7F3B5232-69A0-41A4-97E8-18F67F372367}" type="pres">
      <dgm:prSet presAssocID="{514B840E-7C1A-4543-97C8-4760A41B74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A571178D-11F2-4FE7-80D4-FCE1287108AA}" type="pres">
      <dgm:prSet presAssocID="{514B840E-7C1A-4543-97C8-4760A41B7481}" presName="children" presStyleCnt="0"/>
      <dgm:spPr/>
    </dgm:pt>
    <dgm:pt modelId="{A44CFAF9-1303-49FF-A9C8-8EDBFDADF7AF}" type="pres">
      <dgm:prSet presAssocID="{514B840E-7C1A-4543-97C8-4760A41B7481}" presName="childPlaceholder" presStyleCnt="0"/>
      <dgm:spPr/>
    </dgm:pt>
    <dgm:pt modelId="{566EF2F5-869E-4BAF-9EA6-DAEDE3BF8207}" type="pres">
      <dgm:prSet presAssocID="{514B840E-7C1A-4543-97C8-4760A41B7481}" presName="circle" presStyleCnt="0"/>
      <dgm:spPr/>
    </dgm:pt>
    <dgm:pt modelId="{20653187-C3F3-4386-88F7-9E868007E750}" type="pres">
      <dgm:prSet presAssocID="{514B840E-7C1A-4543-97C8-4760A41B74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D59D96E-82A6-4612-BA89-3E5323DE8885}" type="pres">
      <dgm:prSet presAssocID="{514B840E-7C1A-4543-97C8-4760A41B74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F524F590-1BEB-40A7-B022-D74430C54FD7}" type="pres">
      <dgm:prSet presAssocID="{514B840E-7C1A-4543-97C8-4760A41B74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20659C38-E743-4B14-9908-4F8DDC1CA57D}" type="pres">
      <dgm:prSet presAssocID="{514B840E-7C1A-4543-97C8-4760A41B74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02CCC310-738E-48A9-8B50-9320E0DB85DC}" type="pres">
      <dgm:prSet presAssocID="{514B840E-7C1A-4543-97C8-4760A41B7481}" presName="quadrantPlaceholder" presStyleCnt="0"/>
      <dgm:spPr/>
    </dgm:pt>
    <dgm:pt modelId="{8A30DC33-EEC1-4E2D-8153-37CA203BDF71}" type="pres">
      <dgm:prSet presAssocID="{514B840E-7C1A-4543-97C8-4760A41B7481}" presName="center1" presStyleLbl="fgShp" presStyleIdx="0" presStyleCnt="2"/>
      <dgm:spPr/>
    </dgm:pt>
    <dgm:pt modelId="{4EF58E0E-7F99-4F9A-993A-3AD72F2450B2}" type="pres">
      <dgm:prSet presAssocID="{514B840E-7C1A-4543-97C8-4760A41B7481}" presName="center2" presStyleLbl="fgShp" presStyleIdx="1" presStyleCnt="2"/>
      <dgm:spPr/>
    </dgm:pt>
  </dgm:ptLst>
  <dgm:cxnLst>
    <dgm:cxn modelId="{073F1C0D-ADA7-498B-8839-D8F923E5FCF9}" type="presOf" srcId="{881AC23E-9CB5-4FB4-BE01-2F14AD422EF2}" destId="{20659C38-E743-4B14-9908-4F8DDC1CA57D}" srcOrd="0" destOrd="0" presId="urn:microsoft.com/office/officeart/2005/8/layout/cycle4"/>
    <dgm:cxn modelId="{64DCD05C-FE95-4830-B67C-9A3F4419D0B3}" type="presOf" srcId="{E420595E-3BB3-47B3-87D6-18621A920760}" destId="{F524F590-1BEB-40A7-B022-D74430C54FD7}" srcOrd="0" destOrd="0" presId="urn:microsoft.com/office/officeart/2005/8/layout/cycle4"/>
    <dgm:cxn modelId="{1B493859-F6CE-41A9-9899-DBB5917DFD91}" type="presOf" srcId="{0F8A73A5-0CD8-4A62-9210-E6A18F403058}" destId="{20653187-C3F3-4386-88F7-9E868007E750}" srcOrd="0" destOrd="0" presId="urn:microsoft.com/office/officeart/2005/8/layout/cycle4"/>
    <dgm:cxn modelId="{19F7B47A-20C3-43FD-9AA3-D8C96FE2A962}" srcId="{514B840E-7C1A-4543-97C8-4760A41B7481}" destId="{881AC23E-9CB5-4FB4-BE01-2F14AD422EF2}" srcOrd="3" destOrd="0" parTransId="{94DEDD9A-0175-4ABD-AED0-CB22A05A3CF5}" sibTransId="{D9567C41-F206-4891-AE03-CFF5D7970925}"/>
    <dgm:cxn modelId="{CF9F2EAD-E7CA-430B-911B-EEE16C854C91}" type="presOf" srcId="{85D6228B-5808-4D9D-985E-C3E84108C4C4}" destId="{BD59D96E-82A6-4612-BA89-3E5323DE8885}" srcOrd="0" destOrd="0" presId="urn:microsoft.com/office/officeart/2005/8/layout/cycle4"/>
    <dgm:cxn modelId="{AD545EC1-DE4F-4791-9803-7250CB8D20B2}" srcId="{514B840E-7C1A-4543-97C8-4760A41B7481}" destId="{E420595E-3BB3-47B3-87D6-18621A920760}" srcOrd="2" destOrd="0" parTransId="{C658A1C6-F92F-4712-8BCB-CAABC8DBCDD2}" sibTransId="{5F2D0CAD-CCDA-48D1-8A5E-17D864691BA0}"/>
    <dgm:cxn modelId="{E02291C9-52EC-4A10-825A-F216C0FCD8C9}" type="presOf" srcId="{514B840E-7C1A-4543-97C8-4760A41B7481}" destId="{7F3B5232-69A0-41A4-97E8-18F67F372367}" srcOrd="0" destOrd="0" presId="urn:microsoft.com/office/officeart/2005/8/layout/cycle4"/>
    <dgm:cxn modelId="{FA1A02E7-2E23-4B0F-91F6-96E26BED72EB}" srcId="{514B840E-7C1A-4543-97C8-4760A41B7481}" destId="{85D6228B-5808-4D9D-985E-C3E84108C4C4}" srcOrd="1" destOrd="0" parTransId="{B40ADFEF-07B9-44DA-997B-AF61508EAD43}" sibTransId="{C16E5357-26A7-4269-A12A-8DC8FD32CC3C}"/>
    <dgm:cxn modelId="{AD6D0AF6-1497-47F9-AA47-2F7A931A0A8F}" srcId="{514B840E-7C1A-4543-97C8-4760A41B7481}" destId="{0F8A73A5-0CD8-4A62-9210-E6A18F403058}" srcOrd="0" destOrd="0" parTransId="{A3B00945-F0F8-43A7-A743-06996547CE5E}" sibTransId="{1E25B9EB-4A13-4313-9A9C-E14FF875A5F4}"/>
    <dgm:cxn modelId="{E161AD4C-7BCC-4F8B-B614-03A3BF4C7906}" type="presParOf" srcId="{7F3B5232-69A0-41A4-97E8-18F67F372367}" destId="{A571178D-11F2-4FE7-80D4-FCE1287108AA}" srcOrd="0" destOrd="0" presId="urn:microsoft.com/office/officeart/2005/8/layout/cycle4"/>
    <dgm:cxn modelId="{ED3DF653-5637-465D-96C7-EBCC66A3CA3A}" type="presParOf" srcId="{A571178D-11F2-4FE7-80D4-FCE1287108AA}" destId="{A44CFAF9-1303-49FF-A9C8-8EDBFDADF7AF}" srcOrd="0" destOrd="0" presId="urn:microsoft.com/office/officeart/2005/8/layout/cycle4"/>
    <dgm:cxn modelId="{8BA22394-E509-42FA-9F0C-AB653AC78610}" type="presParOf" srcId="{7F3B5232-69A0-41A4-97E8-18F67F372367}" destId="{566EF2F5-869E-4BAF-9EA6-DAEDE3BF8207}" srcOrd="1" destOrd="0" presId="urn:microsoft.com/office/officeart/2005/8/layout/cycle4"/>
    <dgm:cxn modelId="{2CE07E15-85AF-4387-A7CF-4AAE121F093C}" type="presParOf" srcId="{566EF2F5-869E-4BAF-9EA6-DAEDE3BF8207}" destId="{20653187-C3F3-4386-88F7-9E868007E750}" srcOrd="0" destOrd="0" presId="urn:microsoft.com/office/officeart/2005/8/layout/cycle4"/>
    <dgm:cxn modelId="{BC043D04-DD60-45B4-9DC2-644DEC51DF41}" type="presParOf" srcId="{566EF2F5-869E-4BAF-9EA6-DAEDE3BF8207}" destId="{BD59D96E-82A6-4612-BA89-3E5323DE8885}" srcOrd="1" destOrd="0" presId="urn:microsoft.com/office/officeart/2005/8/layout/cycle4"/>
    <dgm:cxn modelId="{D6288828-A027-4F1F-8650-4052C68BE0D3}" type="presParOf" srcId="{566EF2F5-869E-4BAF-9EA6-DAEDE3BF8207}" destId="{F524F590-1BEB-40A7-B022-D74430C54FD7}" srcOrd="2" destOrd="0" presId="urn:microsoft.com/office/officeart/2005/8/layout/cycle4"/>
    <dgm:cxn modelId="{0CDF6238-9479-4F04-BA11-A7D287B3F717}" type="presParOf" srcId="{566EF2F5-869E-4BAF-9EA6-DAEDE3BF8207}" destId="{20659C38-E743-4B14-9908-4F8DDC1CA57D}" srcOrd="3" destOrd="0" presId="urn:microsoft.com/office/officeart/2005/8/layout/cycle4"/>
    <dgm:cxn modelId="{798FE094-1351-44A2-AD23-DB4A79E6BCAC}" type="presParOf" srcId="{566EF2F5-869E-4BAF-9EA6-DAEDE3BF8207}" destId="{02CCC310-738E-48A9-8B50-9320E0DB85DC}" srcOrd="4" destOrd="0" presId="urn:microsoft.com/office/officeart/2005/8/layout/cycle4"/>
    <dgm:cxn modelId="{AF0096D8-18F1-48BD-ABD4-BD92C2DA7610}" type="presParOf" srcId="{7F3B5232-69A0-41A4-97E8-18F67F372367}" destId="{8A30DC33-EEC1-4E2D-8153-37CA203BDF71}" srcOrd="2" destOrd="0" presId="urn:microsoft.com/office/officeart/2005/8/layout/cycle4"/>
    <dgm:cxn modelId="{D4011061-D562-4C3A-B501-00AC4ADDA28D}" type="presParOf" srcId="{7F3B5232-69A0-41A4-97E8-18F67F372367}" destId="{4EF58E0E-7F99-4F9A-993A-3AD72F2450B2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0B7984-0AD8-4F71-AF90-C289384610E7}" type="doc">
      <dgm:prSet loTypeId="urn:microsoft.com/office/officeart/2009/layout/CircleArrowProcess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2573617A-4401-400C-8F49-5A2D91BF6F5C}">
      <dgm:prSet phldrT="[Text]" custT="1"/>
      <dgm:spPr/>
      <dgm:t>
        <a:bodyPr/>
        <a:lstStyle/>
        <a:p>
          <a:r>
            <a:rPr lang="de-DE" sz="1600" dirty="0" err="1"/>
            <a:t>Ansprech-partner:in</a:t>
          </a:r>
          <a:endParaRPr lang="de-DE" sz="1600" dirty="0"/>
        </a:p>
      </dgm:t>
    </dgm:pt>
    <dgm:pt modelId="{8473859C-B1A5-4D3C-BC9D-6AA95BDFC497}" type="parTrans" cxnId="{2F32F75B-9A5B-45B8-A9EA-9F8A97DBFF96}">
      <dgm:prSet/>
      <dgm:spPr/>
      <dgm:t>
        <a:bodyPr/>
        <a:lstStyle/>
        <a:p>
          <a:endParaRPr lang="de-DE"/>
        </a:p>
      </dgm:t>
    </dgm:pt>
    <dgm:pt modelId="{FE71AD08-967F-44FE-88BA-78AB7814E4B1}" type="sibTrans" cxnId="{2F32F75B-9A5B-45B8-A9EA-9F8A97DBFF96}">
      <dgm:prSet/>
      <dgm:spPr/>
      <dgm:t>
        <a:bodyPr/>
        <a:lstStyle/>
        <a:p>
          <a:endParaRPr lang="de-DE"/>
        </a:p>
      </dgm:t>
    </dgm:pt>
    <dgm:pt modelId="{ED04ACC9-5CC7-4832-8F29-04A5296D2C6C}">
      <dgm:prSet phldrT="[Text]" custT="1"/>
      <dgm:spPr/>
      <dgm:t>
        <a:bodyPr/>
        <a:lstStyle/>
        <a:p>
          <a:r>
            <a:rPr lang="de-DE" sz="1600" dirty="0"/>
            <a:t>Vertrauens-person</a:t>
          </a:r>
        </a:p>
      </dgm:t>
    </dgm:pt>
    <dgm:pt modelId="{0BF8BB8E-1841-4D28-B1AE-044E773CCC3E}" type="parTrans" cxnId="{AF0D6982-FFD8-49F0-B8B9-DD2567E01129}">
      <dgm:prSet/>
      <dgm:spPr/>
      <dgm:t>
        <a:bodyPr/>
        <a:lstStyle/>
        <a:p>
          <a:endParaRPr lang="de-DE"/>
        </a:p>
      </dgm:t>
    </dgm:pt>
    <dgm:pt modelId="{65BD958E-918E-4785-AC6C-F5C0652AADDF}" type="sibTrans" cxnId="{AF0D6982-FFD8-49F0-B8B9-DD2567E01129}">
      <dgm:prSet/>
      <dgm:spPr/>
      <dgm:t>
        <a:bodyPr/>
        <a:lstStyle/>
        <a:p>
          <a:endParaRPr lang="de-DE"/>
        </a:p>
      </dgm:t>
    </dgm:pt>
    <dgm:pt modelId="{2425F78F-9977-47BC-8D65-67279E9D2285}">
      <dgm:prSet phldrT="[Text]" custT="1"/>
      <dgm:spPr/>
      <dgm:t>
        <a:bodyPr/>
        <a:lstStyle/>
        <a:p>
          <a:r>
            <a:rPr lang="de-DE" sz="1600" b="1" dirty="0" err="1"/>
            <a:t>Praxis-anleiter:in</a:t>
          </a:r>
          <a:endParaRPr lang="de-DE" sz="1400" b="1" dirty="0"/>
        </a:p>
      </dgm:t>
    </dgm:pt>
    <dgm:pt modelId="{C2A60B4C-9CEE-4628-982B-C83D85585DF8}" type="parTrans" cxnId="{120C7938-6490-4509-9512-E8E41D5C6432}">
      <dgm:prSet/>
      <dgm:spPr/>
      <dgm:t>
        <a:bodyPr/>
        <a:lstStyle/>
        <a:p>
          <a:endParaRPr lang="de-DE"/>
        </a:p>
      </dgm:t>
    </dgm:pt>
    <dgm:pt modelId="{83673000-A314-4393-947D-5070D686D647}" type="sibTrans" cxnId="{120C7938-6490-4509-9512-E8E41D5C6432}">
      <dgm:prSet/>
      <dgm:spPr/>
      <dgm:t>
        <a:bodyPr/>
        <a:lstStyle/>
        <a:p>
          <a:endParaRPr lang="de-DE"/>
        </a:p>
      </dgm:t>
    </dgm:pt>
    <dgm:pt modelId="{8340932E-627B-42B2-AC2B-BAAADB4C236F}">
      <dgm:prSet phldrT="[Text]" custT="1"/>
      <dgm:spPr/>
      <dgm:t>
        <a:bodyPr/>
        <a:lstStyle/>
        <a:p>
          <a:r>
            <a:rPr lang="de-DE" sz="1600" dirty="0" err="1"/>
            <a:t>Berater:in</a:t>
          </a:r>
          <a:endParaRPr lang="de-DE" sz="1600" dirty="0"/>
        </a:p>
      </dgm:t>
    </dgm:pt>
    <dgm:pt modelId="{A061E2DC-6816-43E1-9DF3-5F71B844534E}" type="parTrans" cxnId="{A3D4E2D5-00DE-495C-9F3E-3984BF2229BA}">
      <dgm:prSet/>
      <dgm:spPr/>
      <dgm:t>
        <a:bodyPr/>
        <a:lstStyle/>
        <a:p>
          <a:endParaRPr lang="de-DE"/>
        </a:p>
      </dgm:t>
    </dgm:pt>
    <dgm:pt modelId="{302C600A-E6FA-498D-90C9-2707DC5A59DF}" type="sibTrans" cxnId="{A3D4E2D5-00DE-495C-9F3E-3984BF2229BA}">
      <dgm:prSet/>
      <dgm:spPr/>
      <dgm:t>
        <a:bodyPr/>
        <a:lstStyle/>
        <a:p>
          <a:endParaRPr lang="de-DE"/>
        </a:p>
      </dgm:t>
    </dgm:pt>
    <dgm:pt modelId="{2F664317-0B8F-44B5-8206-BD99C6E7F596}" type="pres">
      <dgm:prSet presAssocID="{780B7984-0AD8-4F71-AF90-C289384610E7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BEB78794-6E5C-4DD5-BEFC-39163A2B28A3}" type="pres">
      <dgm:prSet presAssocID="{2573617A-4401-400C-8F49-5A2D91BF6F5C}" presName="Accent1" presStyleCnt="0"/>
      <dgm:spPr/>
    </dgm:pt>
    <dgm:pt modelId="{130AD5C4-9FF5-4754-8F6E-E247F4406CF3}" type="pres">
      <dgm:prSet presAssocID="{2573617A-4401-400C-8F49-5A2D91BF6F5C}" presName="Accent" presStyleLbl="node1" presStyleIdx="0" presStyleCnt="4"/>
      <dgm:spPr/>
    </dgm:pt>
    <dgm:pt modelId="{8C322DA1-CD7F-4FCC-B95E-C3535A41AB14}" type="pres">
      <dgm:prSet presAssocID="{2573617A-4401-400C-8F49-5A2D91BF6F5C}" presName="Parent1" presStyleLbl="revTx" presStyleIdx="0" presStyleCnt="4">
        <dgm:presLayoutVars>
          <dgm:chMax val="1"/>
          <dgm:chPref val="1"/>
          <dgm:bulletEnabled val="1"/>
        </dgm:presLayoutVars>
      </dgm:prSet>
      <dgm:spPr/>
    </dgm:pt>
    <dgm:pt modelId="{A3CB84D6-5924-4E66-AF3F-A8163FB4FF0D}" type="pres">
      <dgm:prSet presAssocID="{8340932E-627B-42B2-AC2B-BAAADB4C236F}" presName="Accent2" presStyleCnt="0"/>
      <dgm:spPr/>
    </dgm:pt>
    <dgm:pt modelId="{A7E8A44B-D5DF-4876-A749-A437EFA68F4B}" type="pres">
      <dgm:prSet presAssocID="{8340932E-627B-42B2-AC2B-BAAADB4C236F}" presName="Accent" presStyleLbl="node1" presStyleIdx="1" presStyleCnt="4"/>
      <dgm:spPr/>
    </dgm:pt>
    <dgm:pt modelId="{513768A9-2761-4C55-8938-8C86B5C9A015}" type="pres">
      <dgm:prSet presAssocID="{8340932E-627B-42B2-AC2B-BAAADB4C236F}" presName="Parent2" presStyleLbl="revTx" presStyleIdx="1" presStyleCnt="4">
        <dgm:presLayoutVars>
          <dgm:chMax val="1"/>
          <dgm:chPref val="1"/>
          <dgm:bulletEnabled val="1"/>
        </dgm:presLayoutVars>
      </dgm:prSet>
      <dgm:spPr/>
    </dgm:pt>
    <dgm:pt modelId="{70C84AE9-9169-425E-8E30-462311AF9F00}" type="pres">
      <dgm:prSet presAssocID="{ED04ACC9-5CC7-4832-8F29-04A5296D2C6C}" presName="Accent3" presStyleCnt="0"/>
      <dgm:spPr/>
    </dgm:pt>
    <dgm:pt modelId="{B4817E8E-3763-4BDC-BD3F-6C266597D0AD}" type="pres">
      <dgm:prSet presAssocID="{ED04ACC9-5CC7-4832-8F29-04A5296D2C6C}" presName="Accent" presStyleLbl="node1" presStyleIdx="2" presStyleCnt="4"/>
      <dgm:spPr/>
    </dgm:pt>
    <dgm:pt modelId="{8C7B2CE0-10B0-42D1-8DDD-69DD954DEA4A}" type="pres">
      <dgm:prSet presAssocID="{ED04ACC9-5CC7-4832-8F29-04A5296D2C6C}" presName="Parent3" presStyleLbl="revTx" presStyleIdx="2" presStyleCnt="4">
        <dgm:presLayoutVars>
          <dgm:chMax val="1"/>
          <dgm:chPref val="1"/>
          <dgm:bulletEnabled val="1"/>
        </dgm:presLayoutVars>
      </dgm:prSet>
      <dgm:spPr/>
    </dgm:pt>
    <dgm:pt modelId="{33DF20BC-6682-4056-A233-1E24E23808D4}" type="pres">
      <dgm:prSet presAssocID="{2425F78F-9977-47BC-8D65-67279E9D2285}" presName="Accent4" presStyleCnt="0"/>
      <dgm:spPr/>
    </dgm:pt>
    <dgm:pt modelId="{40332E35-84E7-4D29-A200-A2320DDBB3AB}" type="pres">
      <dgm:prSet presAssocID="{2425F78F-9977-47BC-8D65-67279E9D2285}" presName="Accent" presStyleLbl="node1" presStyleIdx="3" presStyleCnt="4"/>
      <dgm:spPr/>
    </dgm:pt>
    <dgm:pt modelId="{AAF74216-14D1-453C-AB16-D58C6FD17948}" type="pres">
      <dgm:prSet presAssocID="{2425F78F-9977-47BC-8D65-67279E9D2285}" presName="Parent4" presStyleLbl="revTx" presStyleIdx="3" presStyleCnt="4">
        <dgm:presLayoutVars>
          <dgm:chMax val="1"/>
          <dgm:chPref val="1"/>
          <dgm:bulletEnabled val="1"/>
        </dgm:presLayoutVars>
      </dgm:prSet>
      <dgm:spPr/>
    </dgm:pt>
  </dgm:ptLst>
  <dgm:cxnLst>
    <dgm:cxn modelId="{B2D30622-42AA-4347-9B7B-108CCA50C9A7}" type="presOf" srcId="{ED04ACC9-5CC7-4832-8F29-04A5296D2C6C}" destId="{8C7B2CE0-10B0-42D1-8DDD-69DD954DEA4A}" srcOrd="0" destOrd="0" presId="urn:microsoft.com/office/officeart/2009/layout/CircleArrowProcess"/>
    <dgm:cxn modelId="{120C7938-6490-4509-9512-E8E41D5C6432}" srcId="{780B7984-0AD8-4F71-AF90-C289384610E7}" destId="{2425F78F-9977-47BC-8D65-67279E9D2285}" srcOrd="3" destOrd="0" parTransId="{C2A60B4C-9CEE-4628-982B-C83D85585DF8}" sibTransId="{83673000-A314-4393-947D-5070D686D647}"/>
    <dgm:cxn modelId="{E828433C-151C-424F-905D-4B15CB667050}" type="presOf" srcId="{2573617A-4401-400C-8F49-5A2D91BF6F5C}" destId="{8C322DA1-CD7F-4FCC-B95E-C3535A41AB14}" srcOrd="0" destOrd="0" presId="urn:microsoft.com/office/officeart/2009/layout/CircleArrowProcess"/>
    <dgm:cxn modelId="{2F32F75B-9A5B-45B8-A9EA-9F8A97DBFF96}" srcId="{780B7984-0AD8-4F71-AF90-C289384610E7}" destId="{2573617A-4401-400C-8F49-5A2D91BF6F5C}" srcOrd="0" destOrd="0" parTransId="{8473859C-B1A5-4D3C-BC9D-6AA95BDFC497}" sibTransId="{FE71AD08-967F-44FE-88BA-78AB7814E4B1}"/>
    <dgm:cxn modelId="{027D3C5E-FD7A-4F0D-BB33-0CC43E57D8B5}" type="presOf" srcId="{8340932E-627B-42B2-AC2B-BAAADB4C236F}" destId="{513768A9-2761-4C55-8938-8C86B5C9A015}" srcOrd="0" destOrd="0" presId="urn:microsoft.com/office/officeart/2009/layout/CircleArrowProcess"/>
    <dgm:cxn modelId="{9C911A7D-F498-4012-BAD6-42204391BFAA}" type="presOf" srcId="{780B7984-0AD8-4F71-AF90-C289384610E7}" destId="{2F664317-0B8F-44B5-8206-BD99C6E7F596}" srcOrd="0" destOrd="0" presId="urn:microsoft.com/office/officeart/2009/layout/CircleArrowProcess"/>
    <dgm:cxn modelId="{AF0D6982-FFD8-49F0-B8B9-DD2567E01129}" srcId="{780B7984-0AD8-4F71-AF90-C289384610E7}" destId="{ED04ACC9-5CC7-4832-8F29-04A5296D2C6C}" srcOrd="2" destOrd="0" parTransId="{0BF8BB8E-1841-4D28-B1AE-044E773CCC3E}" sibTransId="{65BD958E-918E-4785-AC6C-F5C0652AADDF}"/>
    <dgm:cxn modelId="{2433F996-8AFB-4798-92A0-9F38A66AAF65}" type="presOf" srcId="{2425F78F-9977-47BC-8D65-67279E9D2285}" destId="{AAF74216-14D1-453C-AB16-D58C6FD17948}" srcOrd="0" destOrd="0" presId="urn:microsoft.com/office/officeart/2009/layout/CircleArrowProcess"/>
    <dgm:cxn modelId="{A3D4E2D5-00DE-495C-9F3E-3984BF2229BA}" srcId="{780B7984-0AD8-4F71-AF90-C289384610E7}" destId="{8340932E-627B-42B2-AC2B-BAAADB4C236F}" srcOrd="1" destOrd="0" parTransId="{A061E2DC-6816-43E1-9DF3-5F71B844534E}" sibTransId="{302C600A-E6FA-498D-90C9-2707DC5A59DF}"/>
    <dgm:cxn modelId="{0EA7027C-B8BF-4860-A271-7D17176437E6}" type="presParOf" srcId="{2F664317-0B8F-44B5-8206-BD99C6E7F596}" destId="{BEB78794-6E5C-4DD5-BEFC-39163A2B28A3}" srcOrd="0" destOrd="0" presId="urn:microsoft.com/office/officeart/2009/layout/CircleArrowProcess"/>
    <dgm:cxn modelId="{EA75B9DB-D747-497C-B355-A908FDA9927B}" type="presParOf" srcId="{BEB78794-6E5C-4DD5-BEFC-39163A2B28A3}" destId="{130AD5C4-9FF5-4754-8F6E-E247F4406CF3}" srcOrd="0" destOrd="0" presId="urn:microsoft.com/office/officeart/2009/layout/CircleArrowProcess"/>
    <dgm:cxn modelId="{DF2B14E0-DB5B-49AD-B60E-50EF3708CC80}" type="presParOf" srcId="{2F664317-0B8F-44B5-8206-BD99C6E7F596}" destId="{8C322DA1-CD7F-4FCC-B95E-C3535A41AB14}" srcOrd="1" destOrd="0" presId="urn:microsoft.com/office/officeart/2009/layout/CircleArrowProcess"/>
    <dgm:cxn modelId="{8D1E8CC7-23DF-41AA-89D5-81E322E5DE44}" type="presParOf" srcId="{2F664317-0B8F-44B5-8206-BD99C6E7F596}" destId="{A3CB84D6-5924-4E66-AF3F-A8163FB4FF0D}" srcOrd="2" destOrd="0" presId="urn:microsoft.com/office/officeart/2009/layout/CircleArrowProcess"/>
    <dgm:cxn modelId="{8288228B-C7E6-4FE8-ADFE-317C1DE429FB}" type="presParOf" srcId="{A3CB84D6-5924-4E66-AF3F-A8163FB4FF0D}" destId="{A7E8A44B-D5DF-4876-A749-A437EFA68F4B}" srcOrd="0" destOrd="0" presId="urn:microsoft.com/office/officeart/2009/layout/CircleArrowProcess"/>
    <dgm:cxn modelId="{1B0266F4-6728-4F0E-9406-AFD8BC7F0042}" type="presParOf" srcId="{2F664317-0B8F-44B5-8206-BD99C6E7F596}" destId="{513768A9-2761-4C55-8938-8C86B5C9A015}" srcOrd="3" destOrd="0" presId="urn:microsoft.com/office/officeart/2009/layout/CircleArrowProcess"/>
    <dgm:cxn modelId="{4E84E62C-2D07-48C7-80DF-90475F094969}" type="presParOf" srcId="{2F664317-0B8F-44B5-8206-BD99C6E7F596}" destId="{70C84AE9-9169-425E-8E30-462311AF9F00}" srcOrd="4" destOrd="0" presId="urn:microsoft.com/office/officeart/2009/layout/CircleArrowProcess"/>
    <dgm:cxn modelId="{10A44C3F-A453-4BD1-B62C-F73DB3F37248}" type="presParOf" srcId="{70C84AE9-9169-425E-8E30-462311AF9F00}" destId="{B4817E8E-3763-4BDC-BD3F-6C266597D0AD}" srcOrd="0" destOrd="0" presId="urn:microsoft.com/office/officeart/2009/layout/CircleArrowProcess"/>
    <dgm:cxn modelId="{BDED27F6-3738-44FE-B9F7-44674965DC61}" type="presParOf" srcId="{2F664317-0B8F-44B5-8206-BD99C6E7F596}" destId="{8C7B2CE0-10B0-42D1-8DDD-69DD954DEA4A}" srcOrd="5" destOrd="0" presId="urn:microsoft.com/office/officeart/2009/layout/CircleArrowProcess"/>
    <dgm:cxn modelId="{DB5792EC-7811-469A-B959-F544770DF9DD}" type="presParOf" srcId="{2F664317-0B8F-44B5-8206-BD99C6E7F596}" destId="{33DF20BC-6682-4056-A233-1E24E23808D4}" srcOrd="6" destOrd="0" presId="urn:microsoft.com/office/officeart/2009/layout/CircleArrowProcess"/>
    <dgm:cxn modelId="{0D3FBF41-4F4D-4666-8205-A680708DD2F2}" type="presParOf" srcId="{33DF20BC-6682-4056-A233-1E24E23808D4}" destId="{40332E35-84E7-4D29-A200-A2320DDBB3AB}" srcOrd="0" destOrd="0" presId="urn:microsoft.com/office/officeart/2009/layout/CircleArrowProcess"/>
    <dgm:cxn modelId="{D44ED838-187C-4476-89A3-C42F2A79E566}" type="presParOf" srcId="{2F664317-0B8F-44B5-8206-BD99C6E7F596}" destId="{AAF74216-14D1-453C-AB16-D58C6FD17948}" srcOrd="7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514B840E-7C1A-4543-97C8-4760A41B7481}" type="doc">
      <dgm:prSet loTypeId="urn:microsoft.com/office/officeart/2005/8/layout/cycle4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0F8A73A5-0CD8-4A62-9210-E6A18F403058}">
      <dgm:prSet phldrT="[Text]" custT="1"/>
      <dgm:spPr/>
      <dgm:t>
        <a:bodyPr/>
        <a:lstStyle/>
        <a:p>
          <a:r>
            <a:rPr lang="de-DE" sz="1050" b="1" dirty="0">
              <a:solidFill>
                <a:schemeClr val="tx1"/>
              </a:solidFill>
            </a:rPr>
            <a:t>Fach-kompetenz</a:t>
          </a:r>
        </a:p>
      </dgm:t>
    </dgm:pt>
    <dgm:pt modelId="{A3B00945-F0F8-43A7-A743-06996547CE5E}" type="parTrans" cxnId="{AD6D0AF6-1497-47F9-AA47-2F7A931A0A8F}">
      <dgm:prSet/>
      <dgm:spPr/>
      <dgm:t>
        <a:bodyPr/>
        <a:lstStyle/>
        <a:p>
          <a:endParaRPr lang="de-DE"/>
        </a:p>
      </dgm:t>
    </dgm:pt>
    <dgm:pt modelId="{1E25B9EB-4A13-4313-9A9C-E14FF875A5F4}" type="sibTrans" cxnId="{AD6D0AF6-1497-47F9-AA47-2F7A931A0A8F}">
      <dgm:prSet/>
      <dgm:spPr/>
      <dgm:t>
        <a:bodyPr/>
        <a:lstStyle/>
        <a:p>
          <a:endParaRPr lang="de-DE"/>
        </a:p>
      </dgm:t>
    </dgm:pt>
    <dgm:pt modelId="{85D6228B-5808-4D9D-985E-C3E84108C4C4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Methoden-kompetenz</a:t>
          </a:r>
        </a:p>
      </dgm:t>
    </dgm:pt>
    <dgm:pt modelId="{B40ADFEF-07B9-44DA-997B-AF61508EAD43}" type="parTrans" cxnId="{FA1A02E7-2E23-4B0F-91F6-96E26BED72EB}">
      <dgm:prSet/>
      <dgm:spPr/>
      <dgm:t>
        <a:bodyPr/>
        <a:lstStyle/>
        <a:p>
          <a:endParaRPr lang="de-DE"/>
        </a:p>
      </dgm:t>
    </dgm:pt>
    <dgm:pt modelId="{C16E5357-26A7-4269-A12A-8DC8FD32CC3C}" type="sibTrans" cxnId="{FA1A02E7-2E23-4B0F-91F6-96E26BED72EB}">
      <dgm:prSet/>
      <dgm:spPr/>
      <dgm:t>
        <a:bodyPr/>
        <a:lstStyle/>
        <a:p>
          <a:endParaRPr lang="de-DE"/>
        </a:p>
      </dgm:t>
    </dgm:pt>
    <dgm:pt modelId="{E420595E-3BB3-47B3-87D6-18621A920760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Sozial-kompetenz</a:t>
          </a:r>
        </a:p>
      </dgm:t>
    </dgm:pt>
    <dgm:pt modelId="{C658A1C6-F92F-4712-8BCB-CAABC8DBCDD2}" type="parTrans" cxnId="{AD545EC1-DE4F-4791-9803-7250CB8D20B2}">
      <dgm:prSet/>
      <dgm:spPr/>
      <dgm:t>
        <a:bodyPr/>
        <a:lstStyle/>
        <a:p>
          <a:endParaRPr lang="de-DE"/>
        </a:p>
      </dgm:t>
    </dgm:pt>
    <dgm:pt modelId="{5F2D0CAD-CCDA-48D1-8A5E-17D864691BA0}" type="sibTrans" cxnId="{AD545EC1-DE4F-4791-9803-7250CB8D20B2}">
      <dgm:prSet/>
      <dgm:spPr/>
      <dgm:t>
        <a:bodyPr/>
        <a:lstStyle/>
        <a:p>
          <a:endParaRPr lang="de-DE"/>
        </a:p>
      </dgm:t>
    </dgm:pt>
    <dgm:pt modelId="{881AC23E-9CB5-4FB4-BE01-2F14AD422EF2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Personal-kompetenz</a:t>
          </a:r>
        </a:p>
      </dgm:t>
    </dgm:pt>
    <dgm:pt modelId="{94DEDD9A-0175-4ABD-AED0-CB22A05A3CF5}" type="parTrans" cxnId="{19F7B47A-20C3-43FD-9AA3-D8C96FE2A962}">
      <dgm:prSet/>
      <dgm:spPr/>
      <dgm:t>
        <a:bodyPr/>
        <a:lstStyle/>
        <a:p>
          <a:endParaRPr lang="de-DE"/>
        </a:p>
      </dgm:t>
    </dgm:pt>
    <dgm:pt modelId="{D9567C41-F206-4891-AE03-CFF5D7970925}" type="sibTrans" cxnId="{19F7B47A-20C3-43FD-9AA3-D8C96FE2A962}">
      <dgm:prSet/>
      <dgm:spPr/>
      <dgm:t>
        <a:bodyPr/>
        <a:lstStyle/>
        <a:p>
          <a:endParaRPr lang="de-DE"/>
        </a:p>
      </dgm:t>
    </dgm:pt>
    <dgm:pt modelId="{7F3B5232-69A0-41A4-97E8-18F67F372367}" type="pres">
      <dgm:prSet presAssocID="{514B840E-7C1A-4543-97C8-4760A41B74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A571178D-11F2-4FE7-80D4-FCE1287108AA}" type="pres">
      <dgm:prSet presAssocID="{514B840E-7C1A-4543-97C8-4760A41B7481}" presName="children" presStyleCnt="0"/>
      <dgm:spPr/>
    </dgm:pt>
    <dgm:pt modelId="{A44CFAF9-1303-49FF-A9C8-8EDBFDADF7AF}" type="pres">
      <dgm:prSet presAssocID="{514B840E-7C1A-4543-97C8-4760A41B7481}" presName="childPlaceholder" presStyleCnt="0"/>
      <dgm:spPr/>
    </dgm:pt>
    <dgm:pt modelId="{566EF2F5-869E-4BAF-9EA6-DAEDE3BF8207}" type="pres">
      <dgm:prSet presAssocID="{514B840E-7C1A-4543-97C8-4760A41B7481}" presName="circle" presStyleCnt="0"/>
      <dgm:spPr/>
    </dgm:pt>
    <dgm:pt modelId="{20653187-C3F3-4386-88F7-9E868007E750}" type="pres">
      <dgm:prSet presAssocID="{514B840E-7C1A-4543-97C8-4760A41B74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D59D96E-82A6-4612-BA89-3E5323DE8885}" type="pres">
      <dgm:prSet presAssocID="{514B840E-7C1A-4543-97C8-4760A41B74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F524F590-1BEB-40A7-B022-D74430C54FD7}" type="pres">
      <dgm:prSet presAssocID="{514B840E-7C1A-4543-97C8-4760A41B74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20659C38-E743-4B14-9908-4F8DDC1CA57D}" type="pres">
      <dgm:prSet presAssocID="{514B840E-7C1A-4543-97C8-4760A41B74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02CCC310-738E-48A9-8B50-9320E0DB85DC}" type="pres">
      <dgm:prSet presAssocID="{514B840E-7C1A-4543-97C8-4760A41B7481}" presName="quadrantPlaceholder" presStyleCnt="0"/>
      <dgm:spPr/>
    </dgm:pt>
    <dgm:pt modelId="{8A30DC33-EEC1-4E2D-8153-37CA203BDF71}" type="pres">
      <dgm:prSet presAssocID="{514B840E-7C1A-4543-97C8-4760A41B7481}" presName="center1" presStyleLbl="fgShp" presStyleIdx="0" presStyleCnt="2"/>
      <dgm:spPr/>
    </dgm:pt>
    <dgm:pt modelId="{4EF58E0E-7F99-4F9A-993A-3AD72F2450B2}" type="pres">
      <dgm:prSet presAssocID="{514B840E-7C1A-4543-97C8-4760A41B7481}" presName="center2" presStyleLbl="fgShp" presStyleIdx="1" presStyleCnt="2"/>
      <dgm:spPr/>
    </dgm:pt>
  </dgm:ptLst>
  <dgm:cxnLst>
    <dgm:cxn modelId="{073F1C0D-ADA7-498B-8839-D8F923E5FCF9}" type="presOf" srcId="{881AC23E-9CB5-4FB4-BE01-2F14AD422EF2}" destId="{20659C38-E743-4B14-9908-4F8DDC1CA57D}" srcOrd="0" destOrd="0" presId="urn:microsoft.com/office/officeart/2005/8/layout/cycle4"/>
    <dgm:cxn modelId="{64DCD05C-FE95-4830-B67C-9A3F4419D0B3}" type="presOf" srcId="{E420595E-3BB3-47B3-87D6-18621A920760}" destId="{F524F590-1BEB-40A7-B022-D74430C54FD7}" srcOrd="0" destOrd="0" presId="urn:microsoft.com/office/officeart/2005/8/layout/cycle4"/>
    <dgm:cxn modelId="{1B493859-F6CE-41A9-9899-DBB5917DFD91}" type="presOf" srcId="{0F8A73A5-0CD8-4A62-9210-E6A18F403058}" destId="{20653187-C3F3-4386-88F7-9E868007E750}" srcOrd="0" destOrd="0" presId="urn:microsoft.com/office/officeart/2005/8/layout/cycle4"/>
    <dgm:cxn modelId="{19F7B47A-20C3-43FD-9AA3-D8C96FE2A962}" srcId="{514B840E-7C1A-4543-97C8-4760A41B7481}" destId="{881AC23E-9CB5-4FB4-BE01-2F14AD422EF2}" srcOrd="3" destOrd="0" parTransId="{94DEDD9A-0175-4ABD-AED0-CB22A05A3CF5}" sibTransId="{D9567C41-F206-4891-AE03-CFF5D7970925}"/>
    <dgm:cxn modelId="{CF9F2EAD-E7CA-430B-911B-EEE16C854C91}" type="presOf" srcId="{85D6228B-5808-4D9D-985E-C3E84108C4C4}" destId="{BD59D96E-82A6-4612-BA89-3E5323DE8885}" srcOrd="0" destOrd="0" presId="urn:microsoft.com/office/officeart/2005/8/layout/cycle4"/>
    <dgm:cxn modelId="{AD545EC1-DE4F-4791-9803-7250CB8D20B2}" srcId="{514B840E-7C1A-4543-97C8-4760A41B7481}" destId="{E420595E-3BB3-47B3-87D6-18621A920760}" srcOrd="2" destOrd="0" parTransId="{C658A1C6-F92F-4712-8BCB-CAABC8DBCDD2}" sibTransId="{5F2D0CAD-CCDA-48D1-8A5E-17D864691BA0}"/>
    <dgm:cxn modelId="{E02291C9-52EC-4A10-825A-F216C0FCD8C9}" type="presOf" srcId="{514B840E-7C1A-4543-97C8-4760A41B7481}" destId="{7F3B5232-69A0-41A4-97E8-18F67F372367}" srcOrd="0" destOrd="0" presId="urn:microsoft.com/office/officeart/2005/8/layout/cycle4"/>
    <dgm:cxn modelId="{FA1A02E7-2E23-4B0F-91F6-96E26BED72EB}" srcId="{514B840E-7C1A-4543-97C8-4760A41B7481}" destId="{85D6228B-5808-4D9D-985E-C3E84108C4C4}" srcOrd="1" destOrd="0" parTransId="{B40ADFEF-07B9-44DA-997B-AF61508EAD43}" sibTransId="{C16E5357-26A7-4269-A12A-8DC8FD32CC3C}"/>
    <dgm:cxn modelId="{AD6D0AF6-1497-47F9-AA47-2F7A931A0A8F}" srcId="{514B840E-7C1A-4543-97C8-4760A41B7481}" destId="{0F8A73A5-0CD8-4A62-9210-E6A18F403058}" srcOrd="0" destOrd="0" parTransId="{A3B00945-F0F8-43A7-A743-06996547CE5E}" sibTransId="{1E25B9EB-4A13-4313-9A9C-E14FF875A5F4}"/>
    <dgm:cxn modelId="{E161AD4C-7BCC-4F8B-B614-03A3BF4C7906}" type="presParOf" srcId="{7F3B5232-69A0-41A4-97E8-18F67F372367}" destId="{A571178D-11F2-4FE7-80D4-FCE1287108AA}" srcOrd="0" destOrd="0" presId="urn:microsoft.com/office/officeart/2005/8/layout/cycle4"/>
    <dgm:cxn modelId="{ED3DF653-5637-465D-96C7-EBCC66A3CA3A}" type="presParOf" srcId="{A571178D-11F2-4FE7-80D4-FCE1287108AA}" destId="{A44CFAF9-1303-49FF-A9C8-8EDBFDADF7AF}" srcOrd="0" destOrd="0" presId="urn:microsoft.com/office/officeart/2005/8/layout/cycle4"/>
    <dgm:cxn modelId="{8BA22394-E509-42FA-9F0C-AB653AC78610}" type="presParOf" srcId="{7F3B5232-69A0-41A4-97E8-18F67F372367}" destId="{566EF2F5-869E-4BAF-9EA6-DAEDE3BF8207}" srcOrd="1" destOrd="0" presId="urn:microsoft.com/office/officeart/2005/8/layout/cycle4"/>
    <dgm:cxn modelId="{2CE07E15-85AF-4387-A7CF-4AAE121F093C}" type="presParOf" srcId="{566EF2F5-869E-4BAF-9EA6-DAEDE3BF8207}" destId="{20653187-C3F3-4386-88F7-9E868007E750}" srcOrd="0" destOrd="0" presId="urn:microsoft.com/office/officeart/2005/8/layout/cycle4"/>
    <dgm:cxn modelId="{BC043D04-DD60-45B4-9DC2-644DEC51DF41}" type="presParOf" srcId="{566EF2F5-869E-4BAF-9EA6-DAEDE3BF8207}" destId="{BD59D96E-82A6-4612-BA89-3E5323DE8885}" srcOrd="1" destOrd="0" presId="urn:microsoft.com/office/officeart/2005/8/layout/cycle4"/>
    <dgm:cxn modelId="{D6288828-A027-4F1F-8650-4052C68BE0D3}" type="presParOf" srcId="{566EF2F5-869E-4BAF-9EA6-DAEDE3BF8207}" destId="{F524F590-1BEB-40A7-B022-D74430C54FD7}" srcOrd="2" destOrd="0" presId="urn:microsoft.com/office/officeart/2005/8/layout/cycle4"/>
    <dgm:cxn modelId="{0CDF6238-9479-4F04-BA11-A7D287B3F717}" type="presParOf" srcId="{566EF2F5-869E-4BAF-9EA6-DAEDE3BF8207}" destId="{20659C38-E743-4B14-9908-4F8DDC1CA57D}" srcOrd="3" destOrd="0" presId="urn:microsoft.com/office/officeart/2005/8/layout/cycle4"/>
    <dgm:cxn modelId="{798FE094-1351-44A2-AD23-DB4A79E6BCAC}" type="presParOf" srcId="{566EF2F5-869E-4BAF-9EA6-DAEDE3BF8207}" destId="{02CCC310-738E-48A9-8B50-9320E0DB85DC}" srcOrd="4" destOrd="0" presId="urn:microsoft.com/office/officeart/2005/8/layout/cycle4"/>
    <dgm:cxn modelId="{AF0096D8-18F1-48BD-ABD4-BD92C2DA7610}" type="presParOf" srcId="{7F3B5232-69A0-41A4-97E8-18F67F372367}" destId="{8A30DC33-EEC1-4E2D-8153-37CA203BDF71}" srcOrd="2" destOrd="0" presId="urn:microsoft.com/office/officeart/2005/8/layout/cycle4"/>
    <dgm:cxn modelId="{D4011061-D562-4C3A-B501-00AC4ADDA28D}" type="presParOf" srcId="{7F3B5232-69A0-41A4-97E8-18F67F372367}" destId="{4EF58E0E-7F99-4F9A-993A-3AD72F2450B2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514B840E-7C1A-4543-97C8-4760A41B7481}" type="doc">
      <dgm:prSet loTypeId="urn:microsoft.com/office/officeart/2005/8/layout/cycle4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0F8A73A5-0CD8-4A62-9210-E6A18F403058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Fach-kompetenz</a:t>
          </a:r>
        </a:p>
      </dgm:t>
    </dgm:pt>
    <dgm:pt modelId="{A3B00945-F0F8-43A7-A743-06996547CE5E}" type="parTrans" cxnId="{AD6D0AF6-1497-47F9-AA47-2F7A931A0A8F}">
      <dgm:prSet/>
      <dgm:spPr/>
      <dgm:t>
        <a:bodyPr/>
        <a:lstStyle/>
        <a:p>
          <a:endParaRPr lang="de-DE"/>
        </a:p>
      </dgm:t>
    </dgm:pt>
    <dgm:pt modelId="{1E25B9EB-4A13-4313-9A9C-E14FF875A5F4}" type="sibTrans" cxnId="{AD6D0AF6-1497-47F9-AA47-2F7A931A0A8F}">
      <dgm:prSet/>
      <dgm:spPr/>
      <dgm:t>
        <a:bodyPr/>
        <a:lstStyle/>
        <a:p>
          <a:endParaRPr lang="de-DE"/>
        </a:p>
      </dgm:t>
    </dgm:pt>
    <dgm:pt modelId="{85D6228B-5808-4D9D-985E-C3E84108C4C4}">
      <dgm:prSet phldrT="[Text]" custT="1"/>
      <dgm:spPr/>
      <dgm:t>
        <a:bodyPr/>
        <a:lstStyle/>
        <a:p>
          <a:r>
            <a:rPr lang="de-DE" sz="1050" b="1" dirty="0">
              <a:solidFill>
                <a:schemeClr val="tx1"/>
              </a:solidFill>
            </a:rPr>
            <a:t>Methoden-kompetenz</a:t>
          </a:r>
        </a:p>
      </dgm:t>
    </dgm:pt>
    <dgm:pt modelId="{B40ADFEF-07B9-44DA-997B-AF61508EAD43}" type="parTrans" cxnId="{FA1A02E7-2E23-4B0F-91F6-96E26BED72EB}">
      <dgm:prSet/>
      <dgm:spPr/>
      <dgm:t>
        <a:bodyPr/>
        <a:lstStyle/>
        <a:p>
          <a:endParaRPr lang="de-DE"/>
        </a:p>
      </dgm:t>
    </dgm:pt>
    <dgm:pt modelId="{C16E5357-26A7-4269-A12A-8DC8FD32CC3C}" type="sibTrans" cxnId="{FA1A02E7-2E23-4B0F-91F6-96E26BED72EB}">
      <dgm:prSet/>
      <dgm:spPr/>
      <dgm:t>
        <a:bodyPr/>
        <a:lstStyle/>
        <a:p>
          <a:endParaRPr lang="de-DE"/>
        </a:p>
      </dgm:t>
    </dgm:pt>
    <dgm:pt modelId="{E420595E-3BB3-47B3-87D6-18621A920760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Sozial-kompetenz</a:t>
          </a:r>
        </a:p>
      </dgm:t>
    </dgm:pt>
    <dgm:pt modelId="{C658A1C6-F92F-4712-8BCB-CAABC8DBCDD2}" type="parTrans" cxnId="{AD545EC1-DE4F-4791-9803-7250CB8D20B2}">
      <dgm:prSet/>
      <dgm:spPr/>
      <dgm:t>
        <a:bodyPr/>
        <a:lstStyle/>
        <a:p>
          <a:endParaRPr lang="de-DE"/>
        </a:p>
      </dgm:t>
    </dgm:pt>
    <dgm:pt modelId="{5F2D0CAD-CCDA-48D1-8A5E-17D864691BA0}" type="sibTrans" cxnId="{AD545EC1-DE4F-4791-9803-7250CB8D20B2}">
      <dgm:prSet/>
      <dgm:spPr/>
      <dgm:t>
        <a:bodyPr/>
        <a:lstStyle/>
        <a:p>
          <a:endParaRPr lang="de-DE"/>
        </a:p>
      </dgm:t>
    </dgm:pt>
    <dgm:pt modelId="{881AC23E-9CB5-4FB4-BE01-2F14AD422EF2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Personal-kompetenz</a:t>
          </a:r>
        </a:p>
      </dgm:t>
    </dgm:pt>
    <dgm:pt modelId="{94DEDD9A-0175-4ABD-AED0-CB22A05A3CF5}" type="parTrans" cxnId="{19F7B47A-20C3-43FD-9AA3-D8C96FE2A962}">
      <dgm:prSet/>
      <dgm:spPr/>
      <dgm:t>
        <a:bodyPr/>
        <a:lstStyle/>
        <a:p>
          <a:endParaRPr lang="de-DE"/>
        </a:p>
      </dgm:t>
    </dgm:pt>
    <dgm:pt modelId="{D9567C41-F206-4891-AE03-CFF5D7970925}" type="sibTrans" cxnId="{19F7B47A-20C3-43FD-9AA3-D8C96FE2A962}">
      <dgm:prSet/>
      <dgm:spPr/>
      <dgm:t>
        <a:bodyPr/>
        <a:lstStyle/>
        <a:p>
          <a:endParaRPr lang="de-DE"/>
        </a:p>
      </dgm:t>
    </dgm:pt>
    <dgm:pt modelId="{7F3B5232-69A0-41A4-97E8-18F67F372367}" type="pres">
      <dgm:prSet presAssocID="{514B840E-7C1A-4543-97C8-4760A41B74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A571178D-11F2-4FE7-80D4-FCE1287108AA}" type="pres">
      <dgm:prSet presAssocID="{514B840E-7C1A-4543-97C8-4760A41B7481}" presName="children" presStyleCnt="0"/>
      <dgm:spPr/>
    </dgm:pt>
    <dgm:pt modelId="{A44CFAF9-1303-49FF-A9C8-8EDBFDADF7AF}" type="pres">
      <dgm:prSet presAssocID="{514B840E-7C1A-4543-97C8-4760A41B7481}" presName="childPlaceholder" presStyleCnt="0"/>
      <dgm:spPr/>
    </dgm:pt>
    <dgm:pt modelId="{566EF2F5-869E-4BAF-9EA6-DAEDE3BF8207}" type="pres">
      <dgm:prSet presAssocID="{514B840E-7C1A-4543-97C8-4760A41B7481}" presName="circle" presStyleCnt="0"/>
      <dgm:spPr/>
    </dgm:pt>
    <dgm:pt modelId="{20653187-C3F3-4386-88F7-9E868007E750}" type="pres">
      <dgm:prSet presAssocID="{514B840E-7C1A-4543-97C8-4760A41B74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D59D96E-82A6-4612-BA89-3E5323DE8885}" type="pres">
      <dgm:prSet presAssocID="{514B840E-7C1A-4543-97C8-4760A41B74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F524F590-1BEB-40A7-B022-D74430C54FD7}" type="pres">
      <dgm:prSet presAssocID="{514B840E-7C1A-4543-97C8-4760A41B74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20659C38-E743-4B14-9908-4F8DDC1CA57D}" type="pres">
      <dgm:prSet presAssocID="{514B840E-7C1A-4543-97C8-4760A41B74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02CCC310-738E-48A9-8B50-9320E0DB85DC}" type="pres">
      <dgm:prSet presAssocID="{514B840E-7C1A-4543-97C8-4760A41B7481}" presName="quadrantPlaceholder" presStyleCnt="0"/>
      <dgm:spPr/>
    </dgm:pt>
    <dgm:pt modelId="{8A30DC33-EEC1-4E2D-8153-37CA203BDF71}" type="pres">
      <dgm:prSet presAssocID="{514B840E-7C1A-4543-97C8-4760A41B7481}" presName="center1" presStyleLbl="fgShp" presStyleIdx="0" presStyleCnt="2"/>
      <dgm:spPr/>
    </dgm:pt>
    <dgm:pt modelId="{4EF58E0E-7F99-4F9A-993A-3AD72F2450B2}" type="pres">
      <dgm:prSet presAssocID="{514B840E-7C1A-4543-97C8-4760A41B7481}" presName="center2" presStyleLbl="fgShp" presStyleIdx="1" presStyleCnt="2"/>
      <dgm:spPr/>
    </dgm:pt>
  </dgm:ptLst>
  <dgm:cxnLst>
    <dgm:cxn modelId="{073F1C0D-ADA7-498B-8839-D8F923E5FCF9}" type="presOf" srcId="{881AC23E-9CB5-4FB4-BE01-2F14AD422EF2}" destId="{20659C38-E743-4B14-9908-4F8DDC1CA57D}" srcOrd="0" destOrd="0" presId="urn:microsoft.com/office/officeart/2005/8/layout/cycle4"/>
    <dgm:cxn modelId="{64DCD05C-FE95-4830-B67C-9A3F4419D0B3}" type="presOf" srcId="{E420595E-3BB3-47B3-87D6-18621A920760}" destId="{F524F590-1BEB-40A7-B022-D74430C54FD7}" srcOrd="0" destOrd="0" presId="urn:microsoft.com/office/officeart/2005/8/layout/cycle4"/>
    <dgm:cxn modelId="{1B493859-F6CE-41A9-9899-DBB5917DFD91}" type="presOf" srcId="{0F8A73A5-0CD8-4A62-9210-E6A18F403058}" destId="{20653187-C3F3-4386-88F7-9E868007E750}" srcOrd="0" destOrd="0" presId="urn:microsoft.com/office/officeart/2005/8/layout/cycle4"/>
    <dgm:cxn modelId="{19F7B47A-20C3-43FD-9AA3-D8C96FE2A962}" srcId="{514B840E-7C1A-4543-97C8-4760A41B7481}" destId="{881AC23E-9CB5-4FB4-BE01-2F14AD422EF2}" srcOrd="3" destOrd="0" parTransId="{94DEDD9A-0175-4ABD-AED0-CB22A05A3CF5}" sibTransId="{D9567C41-F206-4891-AE03-CFF5D7970925}"/>
    <dgm:cxn modelId="{CF9F2EAD-E7CA-430B-911B-EEE16C854C91}" type="presOf" srcId="{85D6228B-5808-4D9D-985E-C3E84108C4C4}" destId="{BD59D96E-82A6-4612-BA89-3E5323DE8885}" srcOrd="0" destOrd="0" presId="urn:microsoft.com/office/officeart/2005/8/layout/cycle4"/>
    <dgm:cxn modelId="{AD545EC1-DE4F-4791-9803-7250CB8D20B2}" srcId="{514B840E-7C1A-4543-97C8-4760A41B7481}" destId="{E420595E-3BB3-47B3-87D6-18621A920760}" srcOrd="2" destOrd="0" parTransId="{C658A1C6-F92F-4712-8BCB-CAABC8DBCDD2}" sibTransId="{5F2D0CAD-CCDA-48D1-8A5E-17D864691BA0}"/>
    <dgm:cxn modelId="{E02291C9-52EC-4A10-825A-F216C0FCD8C9}" type="presOf" srcId="{514B840E-7C1A-4543-97C8-4760A41B7481}" destId="{7F3B5232-69A0-41A4-97E8-18F67F372367}" srcOrd="0" destOrd="0" presId="urn:microsoft.com/office/officeart/2005/8/layout/cycle4"/>
    <dgm:cxn modelId="{FA1A02E7-2E23-4B0F-91F6-96E26BED72EB}" srcId="{514B840E-7C1A-4543-97C8-4760A41B7481}" destId="{85D6228B-5808-4D9D-985E-C3E84108C4C4}" srcOrd="1" destOrd="0" parTransId="{B40ADFEF-07B9-44DA-997B-AF61508EAD43}" sibTransId="{C16E5357-26A7-4269-A12A-8DC8FD32CC3C}"/>
    <dgm:cxn modelId="{AD6D0AF6-1497-47F9-AA47-2F7A931A0A8F}" srcId="{514B840E-7C1A-4543-97C8-4760A41B7481}" destId="{0F8A73A5-0CD8-4A62-9210-E6A18F403058}" srcOrd="0" destOrd="0" parTransId="{A3B00945-F0F8-43A7-A743-06996547CE5E}" sibTransId="{1E25B9EB-4A13-4313-9A9C-E14FF875A5F4}"/>
    <dgm:cxn modelId="{E161AD4C-7BCC-4F8B-B614-03A3BF4C7906}" type="presParOf" srcId="{7F3B5232-69A0-41A4-97E8-18F67F372367}" destId="{A571178D-11F2-4FE7-80D4-FCE1287108AA}" srcOrd="0" destOrd="0" presId="urn:microsoft.com/office/officeart/2005/8/layout/cycle4"/>
    <dgm:cxn modelId="{ED3DF653-5637-465D-96C7-EBCC66A3CA3A}" type="presParOf" srcId="{A571178D-11F2-4FE7-80D4-FCE1287108AA}" destId="{A44CFAF9-1303-49FF-A9C8-8EDBFDADF7AF}" srcOrd="0" destOrd="0" presId="urn:microsoft.com/office/officeart/2005/8/layout/cycle4"/>
    <dgm:cxn modelId="{8BA22394-E509-42FA-9F0C-AB653AC78610}" type="presParOf" srcId="{7F3B5232-69A0-41A4-97E8-18F67F372367}" destId="{566EF2F5-869E-4BAF-9EA6-DAEDE3BF8207}" srcOrd="1" destOrd="0" presId="urn:microsoft.com/office/officeart/2005/8/layout/cycle4"/>
    <dgm:cxn modelId="{2CE07E15-85AF-4387-A7CF-4AAE121F093C}" type="presParOf" srcId="{566EF2F5-869E-4BAF-9EA6-DAEDE3BF8207}" destId="{20653187-C3F3-4386-88F7-9E868007E750}" srcOrd="0" destOrd="0" presId="urn:microsoft.com/office/officeart/2005/8/layout/cycle4"/>
    <dgm:cxn modelId="{BC043D04-DD60-45B4-9DC2-644DEC51DF41}" type="presParOf" srcId="{566EF2F5-869E-4BAF-9EA6-DAEDE3BF8207}" destId="{BD59D96E-82A6-4612-BA89-3E5323DE8885}" srcOrd="1" destOrd="0" presId="urn:microsoft.com/office/officeart/2005/8/layout/cycle4"/>
    <dgm:cxn modelId="{D6288828-A027-4F1F-8650-4052C68BE0D3}" type="presParOf" srcId="{566EF2F5-869E-4BAF-9EA6-DAEDE3BF8207}" destId="{F524F590-1BEB-40A7-B022-D74430C54FD7}" srcOrd="2" destOrd="0" presId="urn:microsoft.com/office/officeart/2005/8/layout/cycle4"/>
    <dgm:cxn modelId="{0CDF6238-9479-4F04-BA11-A7D287B3F717}" type="presParOf" srcId="{566EF2F5-869E-4BAF-9EA6-DAEDE3BF8207}" destId="{20659C38-E743-4B14-9908-4F8DDC1CA57D}" srcOrd="3" destOrd="0" presId="urn:microsoft.com/office/officeart/2005/8/layout/cycle4"/>
    <dgm:cxn modelId="{798FE094-1351-44A2-AD23-DB4A79E6BCAC}" type="presParOf" srcId="{566EF2F5-869E-4BAF-9EA6-DAEDE3BF8207}" destId="{02CCC310-738E-48A9-8B50-9320E0DB85DC}" srcOrd="4" destOrd="0" presId="urn:microsoft.com/office/officeart/2005/8/layout/cycle4"/>
    <dgm:cxn modelId="{AF0096D8-18F1-48BD-ABD4-BD92C2DA7610}" type="presParOf" srcId="{7F3B5232-69A0-41A4-97E8-18F67F372367}" destId="{8A30DC33-EEC1-4E2D-8153-37CA203BDF71}" srcOrd="2" destOrd="0" presId="urn:microsoft.com/office/officeart/2005/8/layout/cycle4"/>
    <dgm:cxn modelId="{D4011061-D562-4C3A-B501-00AC4ADDA28D}" type="presParOf" srcId="{7F3B5232-69A0-41A4-97E8-18F67F372367}" destId="{4EF58E0E-7F99-4F9A-993A-3AD72F2450B2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514B840E-7C1A-4543-97C8-4760A41B7481}" type="doc">
      <dgm:prSet loTypeId="urn:microsoft.com/office/officeart/2005/8/layout/cycle4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0F8A73A5-0CD8-4A62-9210-E6A18F403058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Fach-kompetenz</a:t>
          </a:r>
        </a:p>
      </dgm:t>
    </dgm:pt>
    <dgm:pt modelId="{A3B00945-F0F8-43A7-A743-06996547CE5E}" type="parTrans" cxnId="{AD6D0AF6-1497-47F9-AA47-2F7A931A0A8F}">
      <dgm:prSet/>
      <dgm:spPr/>
      <dgm:t>
        <a:bodyPr/>
        <a:lstStyle/>
        <a:p>
          <a:endParaRPr lang="de-DE"/>
        </a:p>
      </dgm:t>
    </dgm:pt>
    <dgm:pt modelId="{1E25B9EB-4A13-4313-9A9C-E14FF875A5F4}" type="sibTrans" cxnId="{AD6D0AF6-1497-47F9-AA47-2F7A931A0A8F}">
      <dgm:prSet/>
      <dgm:spPr/>
      <dgm:t>
        <a:bodyPr/>
        <a:lstStyle/>
        <a:p>
          <a:endParaRPr lang="de-DE"/>
        </a:p>
      </dgm:t>
    </dgm:pt>
    <dgm:pt modelId="{85D6228B-5808-4D9D-985E-C3E84108C4C4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Methoden-kompetenz</a:t>
          </a:r>
        </a:p>
      </dgm:t>
    </dgm:pt>
    <dgm:pt modelId="{B40ADFEF-07B9-44DA-997B-AF61508EAD43}" type="parTrans" cxnId="{FA1A02E7-2E23-4B0F-91F6-96E26BED72EB}">
      <dgm:prSet/>
      <dgm:spPr/>
      <dgm:t>
        <a:bodyPr/>
        <a:lstStyle/>
        <a:p>
          <a:endParaRPr lang="de-DE"/>
        </a:p>
      </dgm:t>
    </dgm:pt>
    <dgm:pt modelId="{C16E5357-26A7-4269-A12A-8DC8FD32CC3C}" type="sibTrans" cxnId="{FA1A02E7-2E23-4B0F-91F6-96E26BED72EB}">
      <dgm:prSet/>
      <dgm:spPr/>
      <dgm:t>
        <a:bodyPr/>
        <a:lstStyle/>
        <a:p>
          <a:endParaRPr lang="de-DE"/>
        </a:p>
      </dgm:t>
    </dgm:pt>
    <dgm:pt modelId="{E420595E-3BB3-47B3-87D6-18621A920760}">
      <dgm:prSet phldrT="[Text]" custT="1"/>
      <dgm:spPr/>
      <dgm:t>
        <a:bodyPr/>
        <a:lstStyle/>
        <a:p>
          <a:r>
            <a:rPr lang="de-DE" sz="1050" b="1" dirty="0">
              <a:solidFill>
                <a:schemeClr val="tx1"/>
              </a:solidFill>
            </a:rPr>
            <a:t>Sozial-kompetenz</a:t>
          </a:r>
        </a:p>
      </dgm:t>
    </dgm:pt>
    <dgm:pt modelId="{C658A1C6-F92F-4712-8BCB-CAABC8DBCDD2}" type="parTrans" cxnId="{AD545EC1-DE4F-4791-9803-7250CB8D20B2}">
      <dgm:prSet/>
      <dgm:spPr/>
      <dgm:t>
        <a:bodyPr/>
        <a:lstStyle/>
        <a:p>
          <a:endParaRPr lang="de-DE"/>
        </a:p>
      </dgm:t>
    </dgm:pt>
    <dgm:pt modelId="{5F2D0CAD-CCDA-48D1-8A5E-17D864691BA0}" type="sibTrans" cxnId="{AD545EC1-DE4F-4791-9803-7250CB8D20B2}">
      <dgm:prSet/>
      <dgm:spPr/>
      <dgm:t>
        <a:bodyPr/>
        <a:lstStyle/>
        <a:p>
          <a:endParaRPr lang="de-DE"/>
        </a:p>
      </dgm:t>
    </dgm:pt>
    <dgm:pt modelId="{881AC23E-9CB5-4FB4-BE01-2F14AD422EF2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Personal-kompetenz</a:t>
          </a:r>
        </a:p>
      </dgm:t>
    </dgm:pt>
    <dgm:pt modelId="{94DEDD9A-0175-4ABD-AED0-CB22A05A3CF5}" type="parTrans" cxnId="{19F7B47A-20C3-43FD-9AA3-D8C96FE2A962}">
      <dgm:prSet/>
      <dgm:spPr/>
      <dgm:t>
        <a:bodyPr/>
        <a:lstStyle/>
        <a:p>
          <a:endParaRPr lang="de-DE"/>
        </a:p>
      </dgm:t>
    </dgm:pt>
    <dgm:pt modelId="{D9567C41-F206-4891-AE03-CFF5D7970925}" type="sibTrans" cxnId="{19F7B47A-20C3-43FD-9AA3-D8C96FE2A962}">
      <dgm:prSet/>
      <dgm:spPr/>
      <dgm:t>
        <a:bodyPr/>
        <a:lstStyle/>
        <a:p>
          <a:endParaRPr lang="de-DE"/>
        </a:p>
      </dgm:t>
    </dgm:pt>
    <dgm:pt modelId="{7F3B5232-69A0-41A4-97E8-18F67F372367}" type="pres">
      <dgm:prSet presAssocID="{514B840E-7C1A-4543-97C8-4760A41B74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A571178D-11F2-4FE7-80D4-FCE1287108AA}" type="pres">
      <dgm:prSet presAssocID="{514B840E-7C1A-4543-97C8-4760A41B7481}" presName="children" presStyleCnt="0"/>
      <dgm:spPr/>
    </dgm:pt>
    <dgm:pt modelId="{A44CFAF9-1303-49FF-A9C8-8EDBFDADF7AF}" type="pres">
      <dgm:prSet presAssocID="{514B840E-7C1A-4543-97C8-4760A41B7481}" presName="childPlaceholder" presStyleCnt="0"/>
      <dgm:spPr/>
    </dgm:pt>
    <dgm:pt modelId="{566EF2F5-869E-4BAF-9EA6-DAEDE3BF8207}" type="pres">
      <dgm:prSet presAssocID="{514B840E-7C1A-4543-97C8-4760A41B7481}" presName="circle" presStyleCnt="0"/>
      <dgm:spPr/>
    </dgm:pt>
    <dgm:pt modelId="{20653187-C3F3-4386-88F7-9E868007E750}" type="pres">
      <dgm:prSet presAssocID="{514B840E-7C1A-4543-97C8-4760A41B74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D59D96E-82A6-4612-BA89-3E5323DE8885}" type="pres">
      <dgm:prSet presAssocID="{514B840E-7C1A-4543-97C8-4760A41B74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F524F590-1BEB-40A7-B022-D74430C54FD7}" type="pres">
      <dgm:prSet presAssocID="{514B840E-7C1A-4543-97C8-4760A41B74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20659C38-E743-4B14-9908-4F8DDC1CA57D}" type="pres">
      <dgm:prSet presAssocID="{514B840E-7C1A-4543-97C8-4760A41B74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02CCC310-738E-48A9-8B50-9320E0DB85DC}" type="pres">
      <dgm:prSet presAssocID="{514B840E-7C1A-4543-97C8-4760A41B7481}" presName="quadrantPlaceholder" presStyleCnt="0"/>
      <dgm:spPr/>
    </dgm:pt>
    <dgm:pt modelId="{8A30DC33-EEC1-4E2D-8153-37CA203BDF71}" type="pres">
      <dgm:prSet presAssocID="{514B840E-7C1A-4543-97C8-4760A41B7481}" presName="center1" presStyleLbl="fgShp" presStyleIdx="0" presStyleCnt="2"/>
      <dgm:spPr/>
    </dgm:pt>
    <dgm:pt modelId="{4EF58E0E-7F99-4F9A-993A-3AD72F2450B2}" type="pres">
      <dgm:prSet presAssocID="{514B840E-7C1A-4543-97C8-4760A41B7481}" presName="center2" presStyleLbl="fgShp" presStyleIdx="1" presStyleCnt="2"/>
      <dgm:spPr/>
    </dgm:pt>
  </dgm:ptLst>
  <dgm:cxnLst>
    <dgm:cxn modelId="{073F1C0D-ADA7-498B-8839-D8F923E5FCF9}" type="presOf" srcId="{881AC23E-9CB5-4FB4-BE01-2F14AD422EF2}" destId="{20659C38-E743-4B14-9908-4F8DDC1CA57D}" srcOrd="0" destOrd="0" presId="urn:microsoft.com/office/officeart/2005/8/layout/cycle4"/>
    <dgm:cxn modelId="{64DCD05C-FE95-4830-B67C-9A3F4419D0B3}" type="presOf" srcId="{E420595E-3BB3-47B3-87D6-18621A920760}" destId="{F524F590-1BEB-40A7-B022-D74430C54FD7}" srcOrd="0" destOrd="0" presId="urn:microsoft.com/office/officeart/2005/8/layout/cycle4"/>
    <dgm:cxn modelId="{1B493859-F6CE-41A9-9899-DBB5917DFD91}" type="presOf" srcId="{0F8A73A5-0CD8-4A62-9210-E6A18F403058}" destId="{20653187-C3F3-4386-88F7-9E868007E750}" srcOrd="0" destOrd="0" presId="urn:microsoft.com/office/officeart/2005/8/layout/cycle4"/>
    <dgm:cxn modelId="{19F7B47A-20C3-43FD-9AA3-D8C96FE2A962}" srcId="{514B840E-7C1A-4543-97C8-4760A41B7481}" destId="{881AC23E-9CB5-4FB4-BE01-2F14AD422EF2}" srcOrd="3" destOrd="0" parTransId="{94DEDD9A-0175-4ABD-AED0-CB22A05A3CF5}" sibTransId="{D9567C41-F206-4891-AE03-CFF5D7970925}"/>
    <dgm:cxn modelId="{CF9F2EAD-E7CA-430B-911B-EEE16C854C91}" type="presOf" srcId="{85D6228B-5808-4D9D-985E-C3E84108C4C4}" destId="{BD59D96E-82A6-4612-BA89-3E5323DE8885}" srcOrd="0" destOrd="0" presId="urn:microsoft.com/office/officeart/2005/8/layout/cycle4"/>
    <dgm:cxn modelId="{AD545EC1-DE4F-4791-9803-7250CB8D20B2}" srcId="{514B840E-7C1A-4543-97C8-4760A41B7481}" destId="{E420595E-3BB3-47B3-87D6-18621A920760}" srcOrd="2" destOrd="0" parTransId="{C658A1C6-F92F-4712-8BCB-CAABC8DBCDD2}" sibTransId="{5F2D0CAD-CCDA-48D1-8A5E-17D864691BA0}"/>
    <dgm:cxn modelId="{E02291C9-52EC-4A10-825A-F216C0FCD8C9}" type="presOf" srcId="{514B840E-7C1A-4543-97C8-4760A41B7481}" destId="{7F3B5232-69A0-41A4-97E8-18F67F372367}" srcOrd="0" destOrd="0" presId="urn:microsoft.com/office/officeart/2005/8/layout/cycle4"/>
    <dgm:cxn modelId="{FA1A02E7-2E23-4B0F-91F6-96E26BED72EB}" srcId="{514B840E-7C1A-4543-97C8-4760A41B7481}" destId="{85D6228B-5808-4D9D-985E-C3E84108C4C4}" srcOrd="1" destOrd="0" parTransId="{B40ADFEF-07B9-44DA-997B-AF61508EAD43}" sibTransId="{C16E5357-26A7-4269-A12A-8DC8FD32CC3C}"/>
    <dgm:cxn modelId="{AD6D0AF6-1497-47F9-AA47-2F7A931A0A8F}" srcId="{514B840E-7C1A-4543-97C8-4760A41B7481}" destId="{0F8A73A5-0CD8-4A62-9210-E6A18F403058}" srcOrd="0" destOrd="0" parTransId="{A3B00945-F0F8-43A7-A743-06996547CE5E}" sibTransId="{1E25B9EB-4A13-4313-9A9C-E14FF875A5F4}"/>
    <dgm:cxn modelId="{E161AD4C-7BCC-4F8B-B614-03A3BF4C7906}" type="presParOf" srcId="{7F3B5232-69A0-41A4-97E8-18F67F372367}" destId="{A571178D-11F2-4FE7-80D4-FCE1287108AA}" srcOrd="0" destOrd="0" presId="urn:microsoft.com/office/officeart/2005/8/layout/cycle4"/>
    <dgm:cxn modelId="{ED3DF653-5637-465D-96C7-EBCC66A3CA3A}" type="presParOf" srcId="{A571178D-11F2-4FE7-80D4-FCE1287108AA}" destId="{A44CFAF9-1303-49FF-A9C8-8EDBFDADF7AF}" srcOrd="0" destOrd="0" presId="urn:microsoft.com/office/officeart/2005/8/layout/cycle4"/>
    <dgm:cxn modelId="{8BA22394-E509-42FA-9F0C-AB653AC78610}" type="presParOf" srcId="{7F3B5232-69A0-41A4-97E8-18F67F372367}" destId="{566EF2F5-869E-4BAF-9EA6-DAEDE3BF8207}" srcOrd="1" destOrd="0" presId="urn:microsoft.com/office/officeart/2005/8/layout/cycle4"/>
    <dgm:cxn modelId="{2CE07E15-85AF-4387-A7CF-4AAE121F093C}" type="presParOf" srcId="{566EF2F5-869E-4BAF-9EA6-DAEDE3BF8207}" destId="{20653187-C3F3-4386-88F7-9E868007E750}" srcOrd="0" destOrd="0" presId="urn:microsoft.com/office/officeart/2005/8/layout/cycle4"/>
    <dgm:cxn modelId="{BC043D04-DD60-45B4-9DC2-644DEC51DF41}" type="presParOf" srcId="{566EF2F5-869E-4BAF-9EA6-DAEDE3BF8207}" destId="{BD59D96E-82A6-4612-BA89-3E5323DE8885}" srcOrd="1" destOrd="0" presId="urn:microsoft.com/office/officeart/2005/8/layout/cycle4"/>
    <dgm:cxn modelId="{D6288828-A027-4F1F-8650-4052C68BE0D3}" type="presParOf" srcId="{566EF2F5-869E-4BAF-9EA6-DAEDE3BF8207}" destId="{F524F590-1BEB-40A7-B022-D74430C54FD7}" srcOrd="2" destOrd="0" presId="urn:microsoft.com/office/officeart/2005/8/layout/cycle4"/>
    <dgm:cxn modelId="{0CDF6238-9479-4F04-BA11-A7D287B3F717}" type="presParOf" srcId="{566EF2F5-869E-4BAF-9EA6-DAEDE3BF8207}" destId="{20659C38-E743-4B14-9908-4F8DDC1CA57D}" srcOrd="3" destOrd="0" presId="urn:microsoft.com/office/officeart/2005/8/layout/cycle4"/>
    <dgm:cxn modelId="{798FE094-1351-44A2-AD23-DB4A79E6BCAC}" type="presParOf" srcId="{566EF2F5-869E-4BAF-9EA6-DAEDE3BF8207}" destId="{02CCC310-738E-48A9-8B50-9320E0DB85DC}" srcOrd="4" destOrd="0" presId="urn:microsoft.com/office/officeart/2005/8/layout/cycle4"/>
    <dgm:cxn modelId="{AF0096D8-18F1-48BD-ABD4-BD92C2DA7610}" type="presParOf" srcId="{7F3B5232-69A0-41A4-97E8-18F67F372367}" destId="{8A30DC33-EEC1-4E2D-8153-37CA203BDF71}" srcOrd="2" destOrd="0" presId="urn:microsoft.com/office/officeart/2005/8/layout/cycle4"/>
    <dgm:cxn modelId="{D4011061-D562-4C3A-B501-00AC4ADDA28D}" type="presParOf" srcId="{7F3B5232-69A0-41A4-97E8-18F67F372367}" destId="{4EF58E0E-7F99-4F9A-993A-3AD72F2450B2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514B840E-7C1A-4543-97C8-4760A41B7481}" type="doc">
      <dgm:prSet loTypeId="urn:microsoft.com/office/officeart/2005/8/layout/cycle4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0F8A73A5-0CD8-4A62-9210-E6A18F403058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Fach-kompetenz</a:t>
          </a:r>
        </a:p>
      </dgm:t>
    </dgm:pt>
    <dgm:pt modelId="{A3B00945-F0F8-43A7-A743-06996547CE5E}" type="parTrans" cxnId="{AD6D0AF6-1497-47F9-AA47-2F7A931A0A8F}">
      <dgm:prSet/>
      <dgm:spPr/>
      <dgm:t>
        <a:bodyPr/>
        <a:lstStyle/>
        <a:p>
          <a:endParaRPr lang="de-DE"/>
        </a:p>
      </dgm:t>
    </dgm:pt>
    <dgm:pt modelId="{1E25B9EB-4A13-4313-9A9C-E14FF875A5F4}" type="sibTrans" cxnId="{AD6D0AF6-1497-47F9-AA47-2F7A931A0A8F}">
      <dgm:prSet/>
      <dgm:spPr/>
      <dgm:t>
        <a:bodyPr/>
        <a:lstStyle/>
        <a:p>
          <a:endParaRPr lang="de-DE"/>
        </a:p>
      </dgm:t>
    </dgm:pt>
    <dgm:pt modelId="{85D6228B-5808-4D9D-985E-C3E84108C4C4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Methoden-kompetenz</a:t>
          </a:r>
        </a:p>
      </dgm:t>
    </dgm:pt>
    <dgm:pt modelId="{B40ADFEF-07B9-44DA-997B-AF61508EAD43}" type="parTrans" cxnId="{FA1A02E7-2E23-4B0F-91F6-96E26BED72EB}">
      <dgm:prSet/>
      <dgm:spPr/>
      <dgm:t>
        <a:bodyPr/>
        <a:lstStyle/>
        <a:p>
          <a:endParaRPr lang="de-DE"/>
        </a:p>
      </dgm:t>
    </dgm:pt>
    <dgm:pt modelId="{C16E5357-26A7-4269-A12A-8DC8FD32CC3C}" type="sibTrans" cxnId="{FA1A02E7-2E23-4B0F-91F6-96E26BED72EB}">
      <dgm:prSet/>
      <dgm:spPr/>
      <dgm:t>
        <a:bodyPr/>
        <a:lstStyle/>
        <a:p>
          <a:endParaRPr lang="de-DE"/>
        </a:p>
      </dgm:t>
    </dgm:pt>
    <dgm:pt modelId="{E420595E-3BB3-47B3-87D6-18621A920760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050" b="1" dirty="0">
              <a:solidFill>
                <a:schemeClr val="bg1"/>
              </a:solidFill>
            </a:rPr>
            <a:t>Sozial-kompetenz</a:t>
          </a:r>
        </a:p>
      </dgm:t>
    </dgm:pt>
    <dgm:pt modelId="{C658A1C6-F92F-4712-8BCB-CAABC8DBCDD2}" type="parTrans" cxnId="{AD545EC1-DE4F-4791-9803-7250CB8D20B2}">
      <dgm:prSet/>
      <dgm:spPr/>
      <dgm:t>
        <a:bodyPr/>
        <a:lstStyle/>
        <a:p>
          <a:endParaRPr lang="de-DE"/>
        </a:p>
      </dgm:t>
    </dgm:pt>
    <dgm:pt modelId="{5F2D0CAD-CCDA-48D1-8A5E-17D864691BA0}" type="sibTrans" cxnId="{AD545EC1-DE4F-4791-9803-7250CB8D20B2}">
      <dgm:prSet/>
      <dgm:spPr/>
      <dgm:t>
        <a:bodyPr/>
        <a:lstStyle/>
        <a:p>
          <a:endParaRPr lang="de-DE"/>
        </a:p>
      </dgm:t>
    </dgm:pt>
    <dgm:pt modelId="{881AC23E-9CB5-4FB4-BE01-2F14AD422EF2}">
      <dgm:prSet phldrT="[Text]" custT="1"/>
      <dgm:spPr/>
      <dgm:t>
        <a:bodyPr/>
        <a:lstStyle/>
        <a:p>
          <a:r>
            <a:rPr lang="de-DE" sz="1050" b="1" dirty="0">
              <a:solidFill>
                <a:schemeClr val="tx1"/>
              </a:solidFill>
            </a:rPr>
            <a:t>Personal-kompetenz</a:t>
          </a:r>
        </a:p>
      </dgm:t>
    </dgm:pt>
    <dgm:pt modelId="{94DEDD9A-0175-4ABD-AED0-CB22A05A3CF5}" type="parTrans" cxnId="{19F7B47A-20C3-43FD-9AA3-D8C96FE2A962}">
      <dgm:prSet/>
      <dgm:spPr/>
      <dgm:t>
        <a:bodyPr/>
        <a:lstStyle/>
        <a:p>
          <a:endParaRPr lang="de-DE"/>
        </a:p>
      </dgm:t>
    </dgm:pt>
    <dgm:pt modelId="{D9567C41-F206-4891-AE03-CFF5D7970925}" type="sibTrans" cxnId="{19F7B47A-20C3-43FD-9AA3-D8C96FE2A962}">
      <dgm:prSet/>
      <dgm:spPr/>
      <dgm:t>
        <a:bodyPr/>
        <a:lstStyle/>
        <a:p>
          <a:endParaRPr lang="de-DE"/>
        </a:p>
      </dgm:t>
    </dgm:pt>
    <dgm:pt modelId="{7F3B5232-69A0-41A4-97E8-18F67F372367}" type="pres">
      <dgm:prSet presAssocID="{514B840E-7C1A-4543-97C8-4760A41B74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A571178D-11F2-4FE7-80D4-FCE1287108AA}" type="pres">
      <dgm:prSet presAssocID="{514B840E-7C1A-4543-97C8-4760A41B7481}" presName="children" presStyleCnt="0"/>
      <dgm:spPr/>
    </dgm:pt>
    <dgm:pt modelId="{A44CFAF9-1303-49FF-A9C8-8EDBFDADF7AF}" type="pres">
      <dgm:prSet presAssocID="{514B840E-7C1A-4543-97C8-4760A41B7481}" presName="childPlaceholder" presStyleCnt="0"/>
      <dgm:spPr/>
    </dgm:pt>
    <dgm:pt modelId="{566EF2F5-869E-4BAF-9EA6-DAEDE3BF8207}" type="pres">
      <dgm:prSet presAssocID="{514B840E-7C1A-4543-97C8-4760A41B7481}" presName="circle" presStyleCnt="0"/>
      <dgm:spPr/>
    </dgm:pt>
    <dgm:pt modelId="{20653187-C3F3-4386-88F7-9E868007E750}" type="pres">
      <dgm:prSet presAssocID="{514B840E-7C1A-4543-97C8-4760A41B74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D59D96E-82A6-4612-BA89-3E5323DE8885}" type="pres">
      <dgm:prSet presAssocID="{514B840E-7C1A-4543-97C8-4760A41B74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F524F590-1BEB-40A7-B022-D74430C54FD7}" type="pres">
      <dgm:prSet presAssocID="{514B840E-7C1A-4543-97C8-4760A41B74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20659C38-E743-4B14-9908-4F8DDC1CA57D}" type="pres">
      <dgm:prSet presAssocID="{514B840E-7C1A-4543-97C8-4760A41B74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02CCC310-738E-48A9-8B50-9320E0DB85DC}" type="pres">
      <dgm:prSet presAssocID="{514B840E-7C1A-4543-97C8-4760A41B7481}" presName="quadrantPlaceholder" presStyleCnt="0"/>
      <dgm:spPr/>
    </dgm:pt>
    <dgm:pt modelId="{8A30DC33-EEC1-4E2D-8153-37CA203BDF71}" type="pres">
      <dgm:prSet presAssocID="{514B840E-7C1A-4543-97C8-4760A41B7481}" presName="center1" presStyleLbl="fgShp" presStyleIdx="0" presStyleCnt="2"/>
      <dgm:spPr/>
    </dgm:pt>
    <dgm:pt modelId="{4EF58E0E-7F99-4F9A-993A-3AD72F2450B2}" type="pres">
      <dgm:prSet presAssocID="{514B840E-7C1A-4543-97C8-4760A41B7481}" presName="center2" presStyleLbl="fgShp" presStyleIdx="1" presStyleCnt="2"/>
      <dgm:spPr/>
    </dgm:pt>
  </dgm:ptLst>
  <dgm:cxnLst>
    <dgm:cxn modelId="{073F1C0D-ADA7-498B-8839-D8F923E5FCF9}" type="presOf" srcId="{881AC23E-9CB5-4FB4-BE01-2F14AD422EF2}" destId="{20659C38-E743-4B14-9908-4F8DDC1CA57D}" srcOrd="0" destOrd="0" presId="urn:microsoft.com/office/officeart/2005/8/layout/cycle4"/>
    <dgm:cxn modelId="{64DCD05C-FE95-4830-B67C-9A3F4419D0B3}" type="presOf" srcId="{E420595E-3BB3-47B3-87D6-18621A920760}" destId="{F524F590-1BEB-40A7-B022-D74430C54FD7}" srcOrd="0" destOrd="0" presId="urn:microsoft.com/office/officeart/2005/8/layout/cycle4"/>
    <dgm:cxn modelId="{1B493859-F6CE-41A9-9899-DBB5917DFD91}" type="presOf" srcId="{0F8A73A5-0CD8-4A62-9210-E6A18F403058}" destId="{20653187-C3F3-4386-88F7-9E868007E750}" srcOrd="0" destOrd="0" presId="urn:microsoft.com/office/officeart/2005/8/layout/cycle4"/>
    <dgm:cxn modelId="{19F7B47A-20C3-43FD-9AA3-D8C96FE2A962}" srcId="{514B840E-7C1A-4543-97C8-4760A41B7481}" destId="{881AC23E-9CB5-4FB4-BE01-2F14AD422EF2}" srcOrd="3" destOrd="0" parTransId="{94DEDD9A-0175-4ABD-AED0-CB22A05A3CF5}" sibTransId="{D9567C41-F206-4891-AE03-CFF5D7970925}"/>
    <dgm:cxn modelId="{CF9F2EAD-E7CA-430B-911B-EEE16C854C91}" type="presOf" srcId="{85D6228B-5808-4D9D-985E-C3E84108C4C4}" destId="{BD59D96E-82A6-4612-BA89-3E5323DE8885}" srcOrd="0" destOrd="0" presId="urn:microsoft.com/office/officeart/2005/8/layout/cycle4"/>
    <dgm:cxn modelId="{AD545EC1-DE4F-4791-9803-7250CB8D20B2}" srcId="{514B840E-7C1A-4543-97C8-4760A41B7481}" destId="{E420595E-3BB3-47B3-87D6-18621A920760}" srcOrd="2" destOrd="0" parTransId="{C658A1C6-F92F-4712-8BCB-CAABC8DBCDD2}" sibTransId="{5F2D0CAD-CCDA-48D1-8A5E-17D864691BA0}"/>
    <dgm:cxn modelId="{E02291C9-52EC-4A10-825A-F216C0FCD8C9}" type="presOf" srcId="{514B840E-7C1A-4543-97C8-4760A41B7481}" destId="{7F3B5232-69A0-41A4-97E8-18F67F372367}" srcOrd="0" destOrd="0" presId="urn:microsoft.com/office/officeart/2005/8/layout/cycle4"/>
    <dgm:cxn modelId="{FA1A02E7-2E23-4B0F-91F6-96E26BED72EB}" srcId="{514B840E-7C1A-4543-97C8-4760A41B7481}" destId="{85D6228B-5808-4D9D-985E-C3E84108C4C4}" srcOrd="1" destOrd="0" parTransId="{B40ADFEF-07B9-44DA-997B-AF61508EAD43}" sibTransId="{C16E5357-26A7-4269-A12A-8DC8FD32CC3C}"/>
    <dgm:cxn modelId="{AD6D0AF6-1497-47F9-AA47-2F7A931A0A8F}" srcId="{514B840E-7C1A-4543-97C8-4760A41B7481}" destId="{0F8A73A5-0CD8-4A62-9210-E6A18F403058}" srcOrd="0" destOrd="0" parTransId="{A3B00945-F0F8-43A7-A743-06996547CE5E}" sibTransId="{1E25B9EB-4A13-4313-9A9C-E14FF875A5F4}"/>
    <dgm:cxn modelId="{E161AD4C-7BCC-4F8B-B614-03A3BF4C7906}" type="presParOf" srcId="{7F3B5232-69A0-41A4-97E8-18F67F372367}" destId="{A571178D-11F2-4FE7-80D4-FCE1287108AA}" srcOrd="0" destOrd="0" presId="urn:microsoft.com/office/officeart/2005/8/layout/cycle4"/>
    <dgm:cxn modelId="{ED3DF653-5637-465D-96C7-EBCC66A3CA3A}" type="presParOf" srcId="{A571178D-11F2-4FE7-80D4-FCE1287108AA}" destId="{A44CFAF9-1303-49FF-A9C8-8EDBFDADF7AF}" srcOrd="0" destOrd="0" presId="urn:microsoft.com/office/officeart/2005/8/layout/cycle4"/>
    <dgm:cxn modelId="{8BA22394-E509-42FA-9F0C-AB653AC78610}" type="presParOf" srcId="{7F3B5232-69A0-41A4-97E8-18F67F372367}" destId="{566EF2F5-869E-4BAF-9EA6-DAEDE3BF8207}" srcOrd="1" destOrd="0" presId="urn:microsoft.com/office/officeart/2005/8/layout/cycle4"/>
    <dgm:cxn modelId="{2CE07E15-85AF-4387-A7CF-4AAE121F093C}" type="presParOf" srcId="{566EF2F5-869E-4BAF-9EA6-DAEDE3BF8207}" destId="{20653187-C3F3-4386-88F7-9E868007E750}" srcOrd="0" destOrd="0" presId="urn:microsoft.com/office/officeart/2005/8/layout/cycle4"/>
    <dgm:cxn modelId="{BC043D04-DD60-45B4-9DC2-644DEC51DF41}" type="presParOf" srcId="{566EF2F5-869E-4BAF-9EA6-DAEDE3BF8207}" destId="{BD59D96E-82A6-4612-BA89-3E5323DE8885}" srcOrd="1" destOrd="0" presId="urn:microsoft.com/office/officeart/2005/8/layout/cycle4"/>
    <dgm:cxn modelId="{D6288828-A027-4F1F-8650-4052C68BE0D3}" type="presParOf" srcId="{566EF2F5-869E-4BAF-9EA6-DAEDE3BF8207}" destId="{F524F590-1BEB-40A7-B022-D74430C54FD7}" srcOrd="2" destOrd="0" presId="urn:microsoft.com/office/officeart/2005/8/layout/cycle4"/>
    <dgm:cxn modelId="{0CDF6238-9479-4F04-BA11-A7D287B3F717}" type="presParOf" srcId="{566EF2F5-869E-4BAF-9EA6-DAEDE3BF8207}" destId="{20659C38-E743-4B14-9908-4F8DDC1CA57D}" srcOrd="3" destOrd="0" presId="urn:microsoft.com/office/officeart/2005/8/layout/cycle4"/>
    <dgm:cxn modelId="{798FE094-1351-44A2-AD23-DB4A79E6BCAC}" type="presParOf" srcId="{566EF2F5-869E-4BAF-9EA6-DAEDE3BF8207}" destId="{02CCC310-738E-48A9-8B50-9320E0DB85DC}" srcOrd="4" destOrd="0" presId="urn:microsoft.com/office/officeart/2005/8/layout/cycle4"/>
    <dgm:cxn modelId="{AF0096D8-18F1-48BD-ABD4-BD92C2DA7610}" type="presParOf" srcId="{7F3B5232-69A0-41A4-97E8-18F67F372367}" destId="{8A30DC33-EEC1-4E2D-8153-37CA203BDF71}" srcOrd="2" destOrd="0" presId="urn:microsoft.com/office/officeart/2005/8/layout/cycle4"/>
    <dgm:cxn modelId="{D4011061-D562-4C3A-B501-00AC4ADDA28D}" type="presParOf" srcId="{7F3B5232-69A0-41A4-97E8-18F67F372367}" destId="{4EF58E0E-7F99-4F9A-993A-3AD72F2450B2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514B840E-7C1A-4543-97C8-4760A41B7481}" type="doc">
      <dgm:prSet loTypeId="urn:microsoft.com/office/officeart/2005/8/layout/cycle4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0F8A73A5-0CD8-4A62-9210-E6A18F403058}">
      <dgm:prSet phldrT="[Text]" custT="1"/>
      <dgm:spPr>
        <a:solidFill>
          <a:srgbClr val="ECEBF3"/>
        </a:solidFill>
      </dgm:spPr>
      <dgm:t>
        <a:bodyPr/>
        <a:lstStyle/>
        <a:p>
          <a:r>
            <a:rPr lang="de-DE" sz="1200" b="1" dirty="0">
              <a:solidFill>
                <a:schemeClr val="tx1"/>
              </a:solidFill>
            </a:rPr>
            <a:t>Fach-kompetenz</a:t>
          </a:r>
        </a:p>
      </dgm:t>
    </dgm:pt>
    <dgm:pt modelId="{A3B00945-F0F8-43A7-A743-06996547CE5E}" type="parTrans" cxnId="{AD6D0AF6-1497-47F9-AA47-2F7A931A0A8F}">
      <dgm:prSet/>
      <dgm:spPr/>
      <dgm:t>
        <a:bodyPr/>
        <a:lstStyle/>
        <a:p>
          <a:endParaRPr lang="de-DE"/>
        </a:p>
      </dgm:t>
    </dgm:pt>
    <dgm:pt modelId="{1E25B9EB-4A13-4313-9A9C-E14FF875A5F4}" type="sibTrans" cxnId="{AD6D0AF6-1497-47F9-AA47-2F7A931A0A8F}">
      <dgm:prSet/>
      <dgm:spPr/>
      <dgm:t>
        <a:bodyPr/>
        <a:lstStyle/>
        <a:p>
          <a:endParaRPr lang="de-DE"/>
        </a:p>
      </dgm:t>
    </dgm:pt>
    <dgm:pt modelId="{85D6228B-5808-4D9D-985E-C3E84108C4C4}">
      <dgm:prSet phldrT="[Text]" custT="1"/>
      <dgm:spPr>
        <a:solidFill>
          <a:srgbClr val="E2EDEB"/>
        </a:solidFill>
      </dgm:spPr>
      <dgm:t>
        <a:bodyPr/>
        <a:lstStyle/>
        <a:p>
          <a:r>
            <a:rPr lang="de-DE" sz="1200" b="1" dirty="0">
              <a:solidFill>
                <a:schemeClr val="tx1"/>
              </a:solidFill>
            </a:rPr>
            <a:t>Methoden-kompetenz</a:t>
          </a:r>
        </a:p>
      </dgm:t>
    </dgm:pt>
    <dgm:pt modelId="{B40ADFEF-07B9-44DA-997B-AF61508EAD43}" type="parTrans" cxnId="{FA1A02E7-2E23-4B0F-91F6-96E26BED72EB}">
      <dgm:prSet/>
      <dgm:spPr/>
      <dgm:t>
        <a:bodyPr/>
        <a:lstStyle/>
        <a:p>
          <a:endParaRPr lang="de-DE"/>
        </a:p>
      </dgm:t>
    </dgm:pt>
    <dgm:pt modelId="{C16E5357-26A7-4269-A12A-8DC8FD32CC3C}" type="sibTrans" cxnId="{FA1A02E7-2E23-4B0F-91F6-96E26BED72EB}">
      <dgm:prSet/>
      <dgm:spPr/>
      <dgm:t>
        <a:bodyPr/>
        <a:lstStyle/>
        <a:p>
          <a:endParaRPr lang="de-DE"/>
        </a:p>
      </dgm:t>
    </dgm:pt>
    <dgm:pt modelId="{E420595E-3BB3-47B3-87D6-18621A920760}">
      <dgm:prSet phldrT="[Text]" custT="1"/>
      <dgm:spPr>
        <a:solidFill>
          <a:srgbClr val="E0E7D9"/>
        </a:solidFill>
      </dgm:spPr>
      <dgm:t>
        <a:bodyPr/>
        <a:lstStyle/>
        <a:p>
          <a:r>
            <a:rPr lang="de-DE" sz="1200" b="1" dirty="0">
              <a:solidFill>
                <a:schemeClr val="tx1"/>
              </a:solidFill>
            </a:rPr>
            <a:t>Sozial-kompetenz</a:t>
          </a:r>
        </a:p>
      </dgm:t>
    </dgm:pt>
    <dgm:pt modelId="{C658A1C6-F92F-4712-8BCB-CAABC8DBCDD2}" type="parTrans" cxnId="{AD545EC1-DE4F-4791-9803-7250CB8D20B2}">
      <dgm:prSet/>
      <dgm:spPr/>
      <dgm:t>
        <a:bodyPr/>
        <a:lstStyle/>
        <a:p>
          <a:endParaRPr lang="de-DE"/>
        </a:p>
      </dgm:t>
    </dgm:pt>
    <dgm:pt modelId="{5F2D0CAD-CCDA-48D1-8A5E-17D864691BA0}" type="sibTrans" cxnId="{AD545EC1-DE4F-4791-9803-7250CB8D20B2}">
      <dgm:prSet/>
      <dgm:spPr/>
      <dgm:t>
        <a:bodyPr/>
        <a:lstStyle/>
        <a:p>
          <a:endParaRPr lang="de-DE"/>
        </a:p>
      </dgm:t>
    </dgm:pt>
    <dgm:pt modelId="{881AC23E-9CB5-4FB4-BE01-2F14AD422EF2}">
      <dgm:prSet phldrT="[Text]" custT="1"/>
      <dgm:spPr>
        <a:solidFill>
          <a:srgbClr val="E1D5D1"/>
        </a:solidFill>
      </dgm:spPr>
      <dgm:t>
        <a:bodyPr/>
        <a:lstStyle/>
        <a:p>
          <a:r>
            <a:rPr lang="de-DE" sz="1200" b="1" dirty="0">
              <a:solidFill>
                <a:schemeClr val="tx1"/>
              </a:solidFill>
            </a:rPr>
            <a:t>Personal-kompetenz</a:t>
          </a:r>
        </a:p>
      </dgm:t>
    </dgm:pt>
    <dgm:pt modelId="{94DEDD9A-0175-4ABD-AED0-CB22A05A3CF5}" type="parTrans" cxnId="{19F7B47A-20C3-43FD-9AA3-D8C96FE2A962}">
      <dgm:prSet/>
      <dgm:spPr/>
      <dgm:t>
        <a:bodyPr/>
        <a:lstStyle/>
        <a:p>
          <a:endParaRPr lang="de-DE"/>
        </a:p>
      </dgm:t>
    </dgm:pt>
    <dgm:pt modelId="{D9567C41-F206-4891-AE03-CFF5D7970925}" type="sibTrans" cxnId="{19F7B47A-20C3-43FD-9AA3-D8C96FE2A962}">
      <dgm:prSet/>
      <dgm:spPr/>
      <dgm:t>
        <a:bodyPr/>
        <a:lstStyle/>
        <a:p>
          <a:endParaRPr lang="de-DE"/>
        </a:p>
      </dgm:t>
    </dgm:pt>
    <dgm:pt modelId="{7F3B5232-69A0-41A4-97E8-18F67F372367}" type="pres">
      <dgm:prSet presAssocID="{514B840E-7C1A-4543-97C8-4760A41B74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A571178D-11F2-4FE7-80D4-FCE1287108AA}" type="pres">
      <dgm:prSet presAssocID="{514B840E-7C1A-4543-97C8-4760A41B7481}" presName="children" presStyleCnt="0"/>
      <dgm:spPr/>
    </dgm:pt>
    <dgm:pt modelId="{A44CFAF9-1303-49FF-A9C8-8EDBFDADF7AF}" type="pres">
      <dgm:prSet presAssocID="{514B840E-7C1A-4543-97C8-4760A41B7481}" presName="childPlaceholder" presStyleCnt="0"/>
      <dgm:spPr/>
    </dgm:pt>
    <dgm:pt modelId="{566EF2F5-869E-4BAF-9EA6-DAEDE3BF8207}" type="pres">
      <dgm:prSet presAssocID="{514B840E-7C1A-4543-97C8-4760A41B7481}" presName="circle" presStyleCnt="0"/>
      <dgm:spPr/>
    </dgm:pt>
    <dgm:pt modelId="{20653187-C3F3-4386-88F7-9E868007E750}" type="pres">
      <dgm:prSet presAssocID="{514B840E-7C1A-4543-97C8-4760A41B74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D59D96E-82A6-4612-BA89-3E5323DE8885}" type="pres">
      <dgm:prSet presAssocID="{514B840E-7C1A-4543-97C8-4760A41B74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F524F590-1BEB-40A7-B022-D74430C54FD7}" type="pres">
      <dgm:prSet presAssocID="{514B840E-7C1A-4543-97C8-4760A41B74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20659C38-E743-4B14-9908-4F8DDC1CA57D}" type="pres">
      <dgm:prSet presAssocID="{514B840E-7C1A-4543-97C8-4760A41B74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02CCC310-738E-48A9-8B50-9320E0DB85DC}" type="pres">
      <dgm:prSet presAssocID="{514B840E-7C1A-4543-97C8-4760A41B7481}" presName="quadrantPlaceholder" presStyleCnt="0"/>
      <dgm:spPr/>
    </dgm:pt>
    <dgm:pt modelId="{8A30DC33-EEC1-4E2D-8153-37CA203BDF71}" type="pres">
      <dgm:prSet presAssocID="{514B840E-7C1A-4543-97C8-4760A41B7481}" presName="center1" presStyleLbl="fgShp" presStyleIdx="0" presStyleCnt="2"/>
      <dgm:spPr/>
    </dgm:pt>
    <dgm:pt modelId="{4EF58E0E-7F99-4F9A-993A-3AD72F2450B2}" type="pres">
      <dgm:prSet presAssocID="{514B840E-7C1A-4543-97C8-4760A41B7481}" presName="center2" presStyleLbl="fgShp" presStyleIdx="1" presStyleCnt="2"/>
      <dgm:spPr/>
    </dgm:pt>
  </dgm:ptLst>
  <dgm:cxnLst>
    <dgm:cxn modelId="{073F1C0D-ADA7-498B-8839-D8F923E5FCF9}" type="presOf" srcId="{881AC23E-9CB5-4FB4-BE01-2F14AD422EF2}" destId="{20659C38-E743-4B14-9908-4F8DDC1CA57D}" srcOrd="0" destOrd="0" presId="urn:microsoft.com/office/officeart/2005/8/layout/cycle4"/>
    <dgm:cxn modelId="{64DCD05C-FE95-4830-B67C-9A3F4419D0B3}" type="presOf" srcId="{E420595E-3BB3-47B3-87D6-18621A920760}" destId="{F524F590-1BEB-40A7-B022-D74430C54FD7}" srcOrd="0" destOrd="0" presId="urn:microsoft.com/office/officeart/2005/8/layout/cycle4"/>
    <dgm:cxn modelId="{1B493859-F6CE-41A9-9899-DBB5917DFD91}" type="presOf" srcId="{0F8A73A5-0CD8-4A62-9210-E6A18F403058}" destId="{20653187-C3F3-4386-88F7-9E868007E750}" srcOrd="0" destOrd="0" presId="urn:microsoft.com/office/officeart/2005/8/layout/cycle4"/>
    <dgm:cxn modelId="{19F7B47A-20C3-43FD-9AA3-D8C96FE2A962}" srcId="{514B840E-7C1A-4543-97C8-4760A41B7481}" destId="{881AC23E-9CB5-4FB4-BE01-2F14AD422EF2}" srcOrd="3" destOrd="0" parTransId="{94DEDD9A-0175-4ABD-AED0-CB22A05A3CF5}" sibTransId="{D9567C41-F206-4891-AE03-CFF5D7970925}"/>
    <dgm:cxn modelId="{CF9F2EAD-E7CA-430B-911B-EEE16C854C91}" type="presOf" srcId="{85D6228B-5808-4D9D-985E-C3E84108C4C4}" destId="{BD59D96E-82A6-4612-BA89-3E5323DE8885}" srcOrd="0" destOrd="0" presId="urn:microsoft.com/office/officeart/2005/8/layout/cycle4"/>
    <dgm:cxn modelId="{AD545EC1-DE4F-4791-9803-7250CB8D20B2}" srcId="{514B840E-7C1A-4543-97C8-4760A41B7481}" destId="{E420595E-3BB3-47B3-87D6-18621A920760}" srcOrd="2" destOrd="0" parTransId="{C658A1C6-F92F-4712-8BCB-CAABC8DBCDD2}" sibTransId="{5F2D0CAD-CCDA-48D1-8A5E-17D864691BA0}"/>
    <dgm:cxn modelId="{E02291C9-52EC-4A10-825A-F216C0FCD8C9}" type="presOf" srcId="{514B840E-7C1A-4543-97C8-4760A41B7481}" destId="{7F3B5232-69A0-41A4-97E8-18F67F372367}" srcOrd="0" destOrd="0" presId="urn:microsoft.com/office/officeart/2005/8/layout/cycle4"/>
    <dgm:cxn modelId="{FA1A02E7-2E23-4B0F-91F6-96E26BED72EB}" srcId="{514B840E-7C1A-4543-97C8-4760A41B7481}" destId="{85D6228B-5808-4D9D-985E-C3E84108C4C4}" srcOrd="1" destOrd="0" parTransId="{B40ADFEF-07B9-44DA-997B-AF61508EAD43}" sibTransId="{C16E5357-26A7-4269-A12A-8DC8FD32CC3C}"/>
    <dgm:cxn modelId="{AD6D0AF6-1497-47F9-AA47-2F7A931A0A8F}" srcId="{514B840E-7C1A-4543-97C8-4760A41B7481}" destId="{0F8A73A5-0CD8-4A62-9210-E6A18F403058}" srcOrd="0" destOrd="0" parTransId="{A3B00945-F0F8-43A7-A743-06996547CE5E}" sibTransId="{1E25B9EB-4A13-4313-9A9C-E14FF875A5F4}"/>
    <dgm:cxn modelId="{E161AD4C-7BCC-4F8B-B614-03A3BF4C7906}" type="presParOf" srcId="{7F3B5232-69A0-41A4-97E8-18F67F372367}" destId="{A571178D-11F2-4FE7-80D4-FCE1287108AA}" srcOrd="0" destOrd="0" presId="urn:microsoft.com/office/officeart/2005/8/layout/cycle4"/>
    <dgm:cxn modelId="{ED3DF653-5637-465D-96C7-EBCC66A3CA3A}" type="presParOf" srcId="{A571178D-11F2-4FE7-80D4-FCE1287108AA}" destId="{A44CFAF9-1303-49FF-A9C8-8EDBFDADF7AF}" srcOrd="0" destOrd="0" presId="urn:microsoft.com/office/officeart/2005/8/layout/cycle4"/>
    <dgm:cxn modelId="{8BA22394-E509-42FA-9F0C-AB653AC78610}" type="presParOf" srcId="{7F3B5232-69A0-41A4-97E8-18F67F372367}" destId="{566EF2F5-869E-4BAF-9EA6-DAEDE3BF8207}" srcOrd="1" destOrd="0" presId="urn:microsoft.com/office/officeart/2005/8/layout/cycle4"/>
    <dgm:cxn modelId="{2CE07E15-85AF-4387-A7CF-4AAE121F093C}" type="presParOf" srcId="{566EF2F5-869E-4BAF-9EA6-DAEDE3BF8207}" destId="{20653187-C3F3-4386-88F7-9E868007E750}" srcOrd="0" destOrd="0" presId="urn:microsoft.com/office/officeart/2005/8/layout/cycle4"/>
    <dgm:cxn modelId="{BC043D04-DD60-45B4-9DC2-644DEC51DF41}" type="presParOf" srcId="{566EF2F5-869E-4BAF-9EA6-DAEDE3BF8207}" destId="{BD59D96E-82A6-4612-BA89-3E5323DE8885}" srcOrd="1" destOrd="0" presId="urn:microsoft.com/office/officeart/2005/8/layout/cycle4"/>
    <dgm:cxn modelId="{D6288828-A027-4F1F-8650-4052C68BE0D3}" type="presParOf" srcId="{566EF2F5-869E-4BAF-9EA6-DAEDE3BF8207}" destId="{F524F590-1BEB-40A7-B022-D74430C54FD7}" srcOrd="2" destOrd="0" presId="urn:microsoft.com/office/officeart/2005/8/layout/cycle4"/>
    <dgm:cxn modelId="{0CDF6238-9479-4F04-BA11-A7D287B3F717}" type="presParOf" srcId="{566EF2F5-869E-4BAF-9EA6-DAEDE3BF8207}" destId="{20659C38-E743-4B14-9908-4F8DDC1CA57D}" srcOrd="3" destOrd="0" presId="urn:microsoft.com/office/officeart/2005/8/layout/cycle4"/>
    <dgm:cxn modelId="{798FE094-1351-44A2-AD23-DB4A79E6BCAC}" type="presParOf" srcId="{566EF2F5-869E-4BAF-9EA6-DAEDE3BF8207}" destId="{02CCC310-738E-48A9-8B50-9320E0DB85DC}" srcOrd="4" destOrd="0" presId="urn:microsoft.com/office/officeart/2005/8/layout/cycle4"/>
    <dgm:cxn modelId="{AF0096D8-18F1-48BD-ABD4-BD92C2DA7610}" type="presParOf" srcId="{7F3B5232-69A0-41A4-97E8-18F67F372367}" destId="{8A30DC33-EEC1-4E2D-8153-37CA203BDF71}" srcOrd="2" destOrd="0" presId="urn:microsoft.com/office/officeart/2005/8/layout/cycle4"/>
    <dgm:cxn modelId="{D4011061-D562-4C3A-B501-00AC4ADDA28D}" type="presParOf" srcId="{7F3B5232-69A0-41A4-97E8-18F67F372367}" destId="{4EF58E0E-7F99-4F9A-993A-3AD72F2450B2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341BF85D-3A0A-48D4-AC04-F617F805D6F7}" type="doc">
      <dgm:prSet loTypeId="urn:microsoft.com/office/officeart/2009/3/layout/StepUpProcess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FF004DF6-9C9C-47A2-8842-C2A6E28592D6}">
      <dgm:prSet phldrT="[Text]"/>
      <dgm:spPr/>
      <dgm:t>
        <a:bodyPr/>
        <a:lstStyle/>
        <a:p>
          <a:r>
            <a:rPr lang="de-DE" dirty="0"/>
            <a:t>Anfänger</a:t>
          </a:r>
        </a:p>
      </dgm:t>
    </dgm:pt>
    <dgm:pt modelId="{259C820D-050F-4923-AB18-7225D580A786}" type="parTrans" cxnId="{065DA1A4-3034-48DB-A389-891929538542}">
      <dgm:prSet/>
      <dgm:spPr/>
      <dgm:t>
        <a:bodyPr/>
        <a:lstStyle/>
        <a:p>
          <a:endParaRPr lang="de-DE"/>
        </a:p>
      </dgm:t>
    </dgm:pt>
    <dgm:pt modelId="{4DE355CA-54C8-4FE6-A3C3-58DD312B4C49}" type="sibTrans" cxnId="{065DA1A4-3034-48DB-A389-891929538542}">
      <dgm:prSet/>
      <dgm:spPr/>
      <dgm:t>
        <a:bodyPr/>
        <a:lstStyle/>
        <a:p>
          <a:endParaRPr lang="de-DE"/>
        </a:p>
      </dgm:t>
    </dgm:pt>
    <dgm:pt modelId="{D0FD31DF-F17E-48D9-9933-4894DCECD2A0}">
      <dgm:prSet phldrT="[Text]"/>
      <dgm:spPr/>
      <dgm:t>
        <a:bodyPr/>
        <a:lstStyle/>
        <a:p>
          <a:r>
            <a:rPr lang="de-DE" dirty="0"/>
            <a:t>Fortgeschrittener Anfänger</a:t>
          </a:r>
        </a:p>
      </dgm:t>
    </dgm:pt>
    <dgm:pt modelId="{2056A0E1-85DA-4F30-8B78-26BF3729C91E}" type="parTrans" cxnId="{733757D1-A30F-4A86-8942-379EA9C9A42C}">
      <dgm:prSet/>
      <dgm:spPr/>
      <dgm:t>
        <a:bodyPr/>
        <a:lstStyle/>
        <a:p>
          <a:endParaRPr lang="de-DE"/>
        </a:p>
      </dgm:t>
    </dgm:pt>
    <dgm:pt modelId="{4A8236D0-712C-4796-B6E0-6B58F4BCE900}" type="sibTrans" cxnId="{733757D1-A30F-4A86-8942-379EA9C9A42C}">
      <dgm:prSet/>
      <dgm:spPr/>
      <dgm:t>
        <a:bodyPr/>
        <a:lstStyle/>
        <a:p>
          <a:endParaRPr lang="de-DE"/>
        </a:p>
      </dgm:t>
    </dgm:pt>
    <dgm:pt modelId="{D4B41878-58A5-47A7-936C-F6B44E5C0519}">
      <dgm:prSet phldrT="[Text]"/>
      <dgm:spPr/>
      <dgm:t>
        <a:bodyPr/>
        <a:lstStyle/>
        <a:p>
          <a:r>
            <a:rPr lang="de-DE" dirty="0"/>
            <a:t>Kompetent Pflegender</a:t>
          </a:r>
        </a:p>
      </dgm:t>
    </dgm:pt>
    <dgm:pt modelId="{E238C2AA-41EC-4C7F-B90A-9D208B8702CE}" type="parTrans" cxnId="{6C8B05B2-2F28-4873-8FA6-362E2CFE9E8D}">
      <dgm:prSet/>
      <dgm:spPr/>
      <dgm:t>
        <a:bodyPr/>
        <a:lstStyle/>
        <a:p>
          <a:endParaRPr lang="de-DE"/>
        </a:p>
      </dgm:t>
    </dgm:pt>
    <dgm:pt modelId="{3F8042F8-9EA3-44C3-AE3D-C1C43D466D0E}" type="sibTrans" cxnId="{6C8B05B2-2F28-4873-8FA6-362E2CFE9E8D}">
      <dgm:prSet/>
      <dgm:spPr/>
      <dgm:t>
        <a:bodyPr/>
        <a:lstStyle/>
        <a:p>
          <a:endParaRPr lang="de-DE"/>
        </a:p>
      </dgm:t>
    </dgm:pt>
    <dgm:pt modelId="{E886F94A-BD09-4843-92AC-BC45ABB3211D}">
      <dgm:prSet phldrT="[Text]"/>
      <dgm:spPr/>
      <dgm:t>
        <a:bodyPr/>
        <a:lstStyle/>
        <a:p>
          <a:r>
            <a:rPr lang="de-DE" dirty="0"/>
            <a:t>Erfahrener Pflegender</a:t>
          </a:r>
        </a:p>
      </dgm:t>
    </dgm:pt>
    <dgm:pt modelId="{07727214-E1D3-44E7-A69C-E79DFCBEFF6B}" type="parTrans" cxnId="{8BA741C8-2F0D-4DB8-8742-18F1EBAB3457}">
      <dgm:prSet/>
      <dgm:spPr/>
      <dgm:t>
        <a:bodyPr/>
        <a:lstStyle/>
        <a:p>
          <a:endParaRPr lang="de-DE"/>
        </a:p>
      </dgm:t>
    </dgm:pt>
    <dgm:pt modelId="{DF7244D7-4B02-4FA5-AEA9-C1782109BE4B}" type="sibTrans" cxnId="{8BA741C8-2F0D-4DB8-8742-18F1EBAB3457}">
      <dgm:prSet/>
      <dgm:spPr/>
      <dgm:t>
        <a:bodyPr/>
        <a:lstStyle/>
        <a:p>
          <a:endParaRPr lang="de-DE"/>
        </a:p>
      </dgm:t>
    </dgm:pt>
    <dgm:pt modelId="{244E1097-BE62-4129-9C21-242CF324FEEE}">
      <dgm:prSet phldrT="[Text]"/>
      <dgm:spPr/>
      <dgm:t>
        <a:bodyPr/>
        <a:lstStyle/>
        <a:p>
          <a:r>
            <a:rPr lang="de-DE" dirty="0"/>
            <a:t>Pflegeexperte</a:t>
          </a:r>
        </a:p>
      </dgm:t>
    </dgm:pt>
    <dgm:pt modelId="{03A2F4B5-91A3-4664-8A8A-E01DE594C286}" type="parTrans" cxnId="{EDC6EC4E-8EAD-419B-885D-3070A4E071D3}">
      <dgm:prSet/>
      <dgm:spPr/>
      <dgm:t>
        <a:bodyPr/>
        <a:lstStyle/>
        <a:p>
          <a:endParaRPr lang="de-DE"/>
        </a:p>
      </dgm:t>
    </dgm:pt>
    <dgm:pt modelId="{BCE08F10-0180-4450-AF6D-243C33A8B731}" type="sibTrans" cxnId="{EDC6EC4E-8EAD-419B-885D-3070A4E071D3}">
      <dgm:prSet/>
      <dgm:spPr/>
      <dgm:t>
        <a:bodyPr/>
        <a:lstStyle/>
        <a:p>
          <a:endParaRPr lang="de-DE"/>
        </a:p>
      </dgm:t>
    </dgm:pt>
    <dgm:pt modelId="{B6821AF0-1469-4BEC-86B1-9FBE0C305181}" type="pres">
      <dgm:prSet presAssocID="{341BF85D-3A0A-48D4-AC04-F617F805D6F7}" presName="rootnode" presStyleCnt="0">
        <dgm:presLayoutVars>
          <dgm:chMax/>
          <dgm:chPref/>
          <dgm:dir/>
          <dgm:animLvl val="lvl"/>
        </dgm:presLayoutVars>
      </dgm:prSet>
      <dgm:spPr/>
    </dgm:pt>
    <dgm:pt modelId="{AC6B00F2-F9B4-4ADF-9914-85300E59499B}" type="pres">
      <dgm:prSet presAssocID="{FF004DF6-9C9C-47A2-8842-C2A6E28592D6}" presName="composite" presStyleCnt="0"/>
      <dgm:spPr/>
    </dgm:pt>
    <dgm:pt modelId="{B7F781B7-93D8-4014-B194-56CA5549CD57}" type="pres">
      <dgm:prSet presAssocID="{FF004DF6-9C9C-47A2-8842-C2A6E28592D6}" presName="LShape" presStyleLbl="alignNode1" presStyleIdx="0" presStyleCnt="9"/>
      <dgm:spPr/>
    </dgm:pt>
    <dgm:pt modelId="{DCDC79E5-52CD-4A3C-B843-24EDD52DA279}" type="pres">
      <dgm:prSet presAssocID="{FF004DF6-9C9C-47A2-8842-C2A6E28592D6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8101D0EB-6349-45B0-9D46-A0533426FF7F}" type="pres">
      <dgm:prSet presAssocID="{FF004DF6-9C9C-47A2-8842-C2A6E28592D6}" presName="Triangle" presStyleLbl="alignNode1" presStyleIdx="1" presStyleCnt="9"/>
      <dgm:spPr/>
    </dgm:pt>
    <dgm:pt modelId="{409803AF-C9E5-4B39-A979-5A9F54081CBB}" type="pres">
      <dgm:prSet presAssocID="{4DE355CA-54C8-4FE6-A3C3-58DD312B4C49}" presName="sibTrans" presStyleCnt="0"/>
      <dgm:spPr/>
    </dgm:pt>
    <dgm:pt modelId="{E0DA216C-3C22-4171-BBC1-607CFB1ED92D}" type="pres">
      <dgm:prSet presAssocID="{4DE355CA-54C8-4FE6-A3C3-58DD312B4C49}" presName="space" presStyleCnt="0"/>
      <dgm:spPr/>
    </dgm:pt>
    <dgm:pt modelId="{F3D6B3E7-C61A-4E6D-9AE6-0593EC5A8D45}" type="pres">
      <dgm:prSet presAssocID="{D0FD31DF-F17E-48D9-9933-4894DCECD2A0}" presName="composite" presStyleCnt="0"/>
      <dgm:spPr/>
    </dgm:pt>
    <dgm:pt modelId="{E5AF5CF2-B4C9-4B69-A069-6C28A407F2AA}" type="pres">
      <dgm:prSet presAssocID="{D0FD31DF-F17E-48D9-9933-4894DCECD2A0}" presName="LShape" presStyleLbl="alignNode1" presStyleIdx="2" presStyleCnt="9"/>
      <dgm:spPr/>
    </dgm:pt>
    <dgm:pt modelId="{110DDB13-D7EC-4357-A30A-01737DEDD158}" type="pres">
      <dgm:prSet presAssocID="{D0FD31DF-F17E-48D9-9933-4894DCECD2A0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55E77BF2-B3C3-45C8-81E7-58DA03A285F5}" type="pres">
      <dgm:prSet presAssocID="{D0FD31DF-F17E-48D9-9933-4894DCECD2A0}" presName="Triangle" presStyleLbl="alignNode1" presStyleIdx="3" presStyleCnt="9"/>
      <dgm:spPr/>
    </dgm:pt>
    <dgm:pt modelId="{2D4108C7-114F-4CE0-96A6-04F8514659A6}" type="pres">
      <dgm:prSet presAssocID="{4A8236D0-712C-4796-B6E0-6B58F4BCE900}" presName="sibTrans" presStyleCnt="0"/>
      <dgm:spPr/>
    </dgm:pt>
    <dgm:pt modelId="{462619C8-FF45-424B-8BFD-07E0D95ACBAF}" type="pres">
      <dgm:prSet presAssocID="{4A8236D0-712C-4796-B6E0-6B58F4BCE900}" presName="space" presStyleCnt="0"/>
      <dgm:spPr/>
    </dgm:pt>
    <dgm:pt modelId="{83B535E4-5379-4D35-8206-91CFE1E73201}" type="pres">
      <dgm:prSet presAssocID="{D4B41878-58A5-47A7-936C-F6B44E5C0519}" presName="composite" presStyleCnt="0"/>
      <dgm:spPr/>
    </dgm:pt>
    <dgm:pt modelId="{D3EDCBDE-0E9C-44A2-98E7-EBA9C531E515}" type="pres">
      <dgm:prSet presAssocID="{D4B41878-58A5-47A7-936C-F6B44E5C0519}" presName="LShape" presStyleLbl="alignNode1" presStyleIdx="4" presStyleCnt="9"/>
      <dgm:spPr/>
    </dgm:pt>
    <dgm:pt modelId="{A3125DF7-4948-4BAB-BF5A-B5E2917FEE2B}" type="pres">
      <dgm:prSet presAssocID="{D4B41878-58A5-47A7-936C-F6B44E5C0519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82FA7DD1-E555-4DDD-945D-17F95F27B18F}" type="pres">
      <dgm:prSet presAssocID="{D4B41878-58A5-47A7-936C-F6B44E5C0519}" presName="Triangle" presStyleLbl="alignNode1" presStyleIdx="5" presStyleCnt="9"/>
      <dgm:spPr/>
    </dgm:pt>
    <dgm:pt modelId="{35DCA56E-CD0F-46EB-B34A-A09FC511283B}" type="pres">
      <dgm:prSet presAssocID="{3F8042F8-9EA3-44C3-AE3D-C1C43D466D0E}" presName="sibTrans" presStyleCnt="0"/>
      <dgm:spPr/>
    </dgm:pt>
    <dgm:pt modelId="{71D0B503-02A2-48F3-A1F9-FEC2D50A19B6}" type="pres">
      <dgm:prSet presAssocID="{3F8042F8-9EA3-44C3-AE3D-C1C43D466D0E}" presName="space" presStyleCnt="0"/>
      <dgm:spPr/>
    </dgm:pt>
    <dgm:pt modelId="{0D067E0F-EAC2-4978-B236-F1791981A82C}" type="pres">
      <dgm:prSet presAssocID="{E886F94A-BD09-4843-92AC-BC45ABB3211D}" presName="composite" presStyleCnt="0"/>
      <dgm:spPr/>
    </dgm:pt>
    <dgm:pt modelId="{1656856F-043E-4B70-9C15-EFEF42FF36E9}" type="pres">
      <dgm:prSet presAssocID="{E886F94A-BD09-4843-92AC-BC45ABB3211D}" presName="LShape" presStyleLbl="alignNode1" presStyleIdx="6" presStyleCnt="9"/>
      <dgm:spPr/>
    </dgm:pt>
    <dgm:pt modelId="{DBB0349A-9669-4E86-8D25-A95262A5E6E7}" type="pres">
      <dgm:prSet presAssocID="{E886F94A-BD09-4843-92AC-BC45ABB3211D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E78A156A-50C2-4C39-B074-5937A07F0C50}" type="pres">
      <dgm:prSet presAssocID="{E886F94A-BD09-4843-92AC-BC45ABB3211D}" presName="Triangle" presStyleLbl="alignNode1" presStyleIdx="7" presStyleCnt="9"/>
      <dgm:spPr/>
    </dgm:pt>
    <dgm:pt modelId="{A5945E01-9E8B-4A9F-B67A-78E312EFBF50}" type="pres">
      <dgm:prSet presAssocID="{DF7244D7-4B02-4FA5-AEA9-C1782109BE4B}" presName="sibTrans" presStyleCnt="0"/>
      <dgm:spPr/>
    </dgm:pt>
    <dgm:pt modelId="{41BB9253-AFE2-46ED-B0E3-A0EE0EB5ED80}" type="pres">
      <dgm:prSet presAssocID="{DF7244D7-4B02-4FA5-AEA9-C1782109BE4B}" presName="space" presStyleCnt="0"/>
      <dgm:spPr/>
    </dgm:pt>
    <dgm:pt modelId="{A5B756AE-6252-46EB-AE58-C537CC718FC0}" type="pres">
      <dgm:prSet presAssocID="{244E1097-BE62-4129-9C21-242CF324FEEE}" presName="composite" presStyleCnt="0"/>
      <dgm:spPr/>
    </dgm:pt>
    <dgm:pt modelId="{FC61F493-234D-40CB-A717-43E47652CD4F}" type="pres">
      <dgm:prSet presAssocID="{244E1097-BE62-4129-9C21-242CF324FEEE}" presName="LShape" presStyleLbl="alignNode1" presStyleIdx="8" presStyleCnt="9"/>
      <dgm:spPr/>
    </dgm:pt>
    <dgm:pt modelId="{C8A49ED2-7C66-42C2-8457-00E571E78628}" type="pres">
      <dgm:prSet presAssocID="{244E1097-BE62-4129-9C21-242CF324FEEE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B62D321A-BC4E-4C43-AFA1-35A465A5382C}" type="presOf" srcId="{E886F94A-BD09-4843-92AC-BC45ABB3211D}" destId="{DBB0349A-9669-4E86-8D25-A95262A5E6E7}" srcOrd="0" destOrd="0" presId="urn:microsoft.com/office/officeart/2009/3/layout/StepUpProcess"/>
    <dgm:cxn modelId="{D9109D48-2E77-49BE-A400-88BBD7FBB52B}" type="presOf" srcId="{244E1097-BE62-4129-9C21-242CF324FEEE}" destId="{C8A49ED2-7C66-42C2-8457-00E571E78628}" srcOrd="0" destOrd="0" presId="urn:microsoft.com/office/officeart/2009/3/layout/StepUpProcess"/>
    <dgm:cxn modelId="{EDC6EC4E-8EAD-419B-885D-3070A4E071D3}" srcId="{341BF85D-3A0A-48D4-AC04-F617F805D6F7}" destId="{244E1097-BE62-4129-9C21-242CF324FEEE}" srcOrd="4" destOrd="0" parTransId="{03A2F4B5-91A3-4664-8A8A-E01DE594C286}" sibTransId="{BCE08F10-0180-4450-AF6D-243C33A8B731}"/>
    <dgm:cxn modelId="{065DA1A4-3034-48DB-A389-891929538542}" srcId="{341BF85D-3A0A-48D4-AC04-F617F805D6F7}" destId="{FF004DF6-9C9C-47A2-8842-C2A6E28592D6}" srcOrd="0" destOrd="0" parTransId="{259C820D-050F-4923-AB18-7225D580A786}" sibTransId="{4DE355CA-54C8-4FE6-A3C3-58DD312B4C49}"/>
    <dgm:cxn modelId="{F1966AA8-DD1F-4F01-885D-7EE5B363CA81}" type="presOf" srcId="{FF004DF6-9C9C-47A2-8842-C2A6E28592D6}" destId="{DCDC79E5-52CD-4A3C-B843-24EDD52DA279}" srcOrd="0" destOrd="0" presId="urn:microsoft.com/office/officeart/2009/3/layout/StepUpProcess"/>
    <dgm:cxn modelId="{666FBAAB-5B38-4FE9-9900-95A84621C1AF}" type="presOf" srcId="{341BF85D-3A0A-48D4-AC04-F617F805D6F7}" destId="{B6821AF0-1469-4BEC-86B1-9FBE0C305181}" srcOrd="0" destOrd="0" presId="urn:microsoft.com/office/officeart/2009/3/layout/StepUpProcess"/>
    <dgm:cxn modelId="{6C8B05B2-2F28-4873-8FA6-362E2CFE9E8D}" srcId="{341BF85D-3A0A-48D4-AC04-F617F805D6F7}" destId="{D4B41878-58A5-47A7-936C-F6B44E5C0519}" srcOrd="2" destOrd="0" parTransId="{E238C2AA-41EC-4C7F-B90A-9D208B8702CE}" sibTransId="{3F8042F8-9EA3-44C3-AE3D-C1C43D466D0E}"/>
    <dgm:cxn modelId="{359E37B5-9C72-4290-8541-791AE62545D6}" type="presOf" srcId="{D4B41878-58A5-47A7-936C-F6B44E5C0519}" destId="{A3125DF7-4948-4BAB-BF5A-B5E2917FEE2B}" srcOrd="0" destOrd="0" presId="urn:microsoft.com/office/officeart/2009/3/layout/StepUpProcess"/>
    <dgm:cxn modelId="{8BA741C8-2F0D-4DB8-8742-18F1EBAB3457}" srcId="{341BF85D-3A0A-48D4-AC04-F617F805D6F7}" destId="{E886F94A-BD09-4843-92AC-BC45ABB3211D}" srcOrd="3" destOrd="0" parTransId="{07727214-E1D3-44E7-A69C-E79DFCBEFF6B}" sibTransId="{DF7244D7-4B02-4FA5-AEA9-C1782109BE4B}"/>
    <dgm:cxn modelId="{733757D1-A30F-4A86-8942-379EA9C9A42C}" srcId="{341BF85D-3A0A-48D4-AC04-F617F805D6F7}" destId="{D0FD31DF-F17E-48D9-9933-4894DCECD2A0}" srcOrd="1" destOrd="0" parTransId="{2056A0E1-85DA-4F30-8B78-26BF3729C91E}" sibTransId="{4A8236D0-712C-4796-B6E0-6B58F4BCE900}"/>
    <dgm:cxn modelId="{C524C2D2-3B72-4AB6-8B6D-67A90AEC2C9B}" type="presOf" srcId="{D0FD31DF-F17E-48D9-9933-4894DCECD2A0}" destId="{110DDB13-D7EC-4357-A30A-01737DEDD158}" srcOrd="0" destOrd="0" presId="urn:microsoft.com/office/officeart/2009/3/layout/StepUpProcess"/>
    <dgm:cxn modelId="{59EA720E-95AD-473E-BF17-771FA212D67A}" type="presParOf" srcId="{B6821AF0-1469-4BEC-86B1-9FBE0C305181}" destId="{AC6B00F2-F9B4-4ADF-9914-85300E59499B}" srcOrd="0" destOrd="0" presId="urn:microsoft.com/office/officeart/2009/3/layout/StepUpProcess"/>
    <dgm:cxn modelId="{ABDD9873-9434-4807-96FF-BBD96B4AC413}" type="presParOf" srcId="{AC6B00F2-F9B4-4ADF-9914-85300E59499B}" destId="{B7F781B7-93D8-4014-B194-56CA5549CD57}" srcOrd="0" destOrd="0" presId="urn:microsoft.com/office/officeart/2009/3/layout/StepUpProcess"/>
    <dgm:cxn modelId="{2BBA8539-94A3-48A4-92D2-4CEE1A24425F}" type="presParOf" srcId="{AC6B00F2-F9B4-4ADF-9914-85300E59499B}" destId="{DCDC79E5-52CD-4A3C-B843-24EDD52DA279}" srcOrd="1" destOrd="0" presId="urn:microsoft.com/office/officeart/2009/3/layout/StepUpProcess"/>
    <dgm:cxn modelId="{6B91CEC5-F105-48BF-85F3-183194A7D35D}" type="presParOf" srcId="{AC6B00F2-F9B4-4ADF-9914-85300E59499B}" destId="{8101D0EB-6349-45B0-9D46-A0533426FF7F}" srcOrd="2" destOrd="0" presId="urn:microsoft.com/office/officeart/2009/3/layout/StepUpProcess"/>
    <dgm:cxn modelId="{7DCFB6B7-CA9A-4027-94D2-05C9EC7AA8B9}" type="presParOf" srcId="{B6821AF0-1469-4BEC-86B1-9FBE0C305181}" destId="{409803AF-C9E5-4B39-A979-5A9F54081CBB}" srcOrd="1" destOrd="0" presId="urn:microsoft.com/office/officeart/2009/3/layout/StepUpProcess"/>
    <dgm:cxn modelId="{18244655-3C21-48FC-9541-8E8B5D30002A}" type="presParOf" srcId="{409803AF-C9E5-4B39-A979-5A9F54081CBB}" destId="{E0DA216C-3C22-4171-BBC1-607CFB1ED92D}" srcOrd="0" destOrd="0" presId="urn:microsoft.com/office/officeart/2009/3/layout/StepUpProcess"/>
    <dgm:cxn modelId="{3447519F-6BC6-440B-BA1C-C87503483746}" type="presParOf" srcId="{B6821AF0-1469-4BEC-86B1-9FBE0C305181}" destId="{F3D6B3E7-C61A-4E6D-9AE6-0593EC5A8D45}" srcOrd="2" destOrd="0" presId="urn:microsoft.com/office/officeart/2009/3/layout/StepUpProcess"/>
    <dgm:cxn modelId="{B3005E57-7F82-47D4-937A-4C9FB84AC6BD}" type="presParOf" srcId="{F3D6B3E7-C61A-4E6D-9AE6-0593EC5A8D45}" destId="{E5AF5CF2-B4C9-4B69-A069-6C28A407F2AA}" srcOrd="0" destOrd="0" presId="urn:microsoft.com/office/officeart/2009/3/layout/StepUpProcess"/>
    <dgm:cxn modelId="{885830BC-9276-42BD-B1EF-A0C772397C9F}" type="presParOf" srcId="{F3D6B3E7-C61A-4E6D-9AE6-0593EC5A8D45}" destId="{110DDB13-D7EC-4357-A30A-01737DEDD158}" srcOrd="1" destOrd="0" presId="urn:microsoft.com/office/officeart/2009/3/layout/StepUpProcess"/>
    <dgm:cxn modelId="{E89CF7F3-9BB3-4CEE-9E91-148B173F9231}" type="presParOf" srcId="{F3D6B3E7-C61A-4E6D-9AE6-0593EC5A8D45}" destId="{55E77BF2-B3C3-45C8-81E7-58DA03A285F5}" srcOrd="2" destOrd="0" presId="urn:microsoft.com/office/officeart/2009/3/layout/StepUpProcess"/>
    <dgm:cxn modelId="{3BFF6118-C9AD-4A0F-B9C9-FC5AF2E07D5B}" type="presParOf" srcId="{B6821AF0-1469-4BEC-86B1-9FBE0C305181}" destId="{2D4108C7-114F-4CE0-96A6-04F8514659A6}" srcOrd="3" destOrd="0" presId="urn:microsoft.com/office/officeart/2009/3/layout/StepUpProcess"/>
    <dgm:cxn modelId="{88C4A8DB-8314-43C0-8CCE-3955E1E2DD59}" type="presParOf" srcId="{2D4108C7-114F-4CE0-96A6-04F8514659A6}" destId="{462619C8-FF45-424B-8BFD-07E0D95ACBAF}" srcOrd="0" destOrd="0" presId="urn:microsoft.com/office/officeart/2009/3/layout/StepUpProcess"/>
    <dgm:cxn modelId="{9A548E8A-793C-48AF-9714-670D80B5243B}" type="presParOf" srcId="{B6821AF0-1469-4BEC-86B1-9FBE0C305181}" destId="{83B535E4-5379-4D35-8206-91CFE1E73201}" srcOrd="4" destOrd="0" presId="urn:microsoft.com/office/officeart/2009/3/layout/StepUpProcess"/>
    <dgm:cxn modelId="{CF9BFC7D-9E14-4445-81DC-1B957736217A}" type="presParOf" srcId="{83B535E4-5379-4D35-8206-91CFE1E73201}" destId="{D3EDCBDE-0E9C-44A2-98E7-EBA9C531E515}" srcOrd="0" destOrd="0" presId="urn:microsoft.com/office/officeart/2009/3/layout/StepUpProcess"/>
    <dgm:cxn modelId="{F0275C45-904D-40FB-A07F-71EBB3637362}" type="presParOf" srcId="{83B535E4-5379-4D35-8206-91CFE1E73201}" destId="{A3125DF7-4948-4BAB-BF5A-B5E2917FEE2B}" srcOrd="1" destOrd="0" presId="urn:microsoft.com/office/officeart/2009/3/layout/StepUpProcess"/>
    <dgm:cxn modelId="{140E056D-EC65-4CB8-9EB5-7CCA4B2F2289}" type="presParOf" srcId="{83B535E4-5379-4D35-8206-91CFE1E73201}" destId="{82FA7DD1-E555-4DDD-945D-17F95F27B18F}" srcOrd="2" destOrd="0" presId="urn:microsoft.com/office/officeart/2009/3/layout/StepUpProcess"/>
    <dgm:cxn modelId="{8CE5F793-EC0B-46AF-84A8-5BB35C87E55B}" type="presParOf" srcId="{B6821AF0-1469-4BEC-86B1-9FBE0C305181}" destId="{35DCA56E-CD0F-46EB-B34A-A09FC511283B}" srcOrd="5" destOrd="0" presId="urn:microsoft.com/office/officeart/2009/3/layout/StepUpProcess"/>
    <dgm:cxn modelId="{A9E10183-07F5-4635-88D0-3C6E8612D255}" type="presParOf" srcId="{35DCA56E-CD0F-46EB-B34A-A09FC511283B}" destId="{71D0B503-02A2-48F3-A1F9-FEC2D50A19B6}" srcOrd="0" destOrd="0" presId="urn:microsoft.com/office/officeart/2009/3/layout/StepUpProcess"/>
    <dgm:cxn modelId="{DEE382B1-2490-42B6-A914-E2C1F36E7364}" type="presParOf" srcId="{B6821AF0-1469-4BEC-86B1-9FBE0C305181}" destId="{0D067E0F-EAC2-4978-B236-F1791981A82C}" srcOrd="6" destOrd="0" presId="urn:microsoft.com/office/officeart/2009/3/layout/StepUpProcess"/>
    <dgm:cxn modelId="{8C3A9F7F-D542-400C-AFB7-45C984C15BD2}" type="presParOf" srcId="{0D067E0F-EAC2-4978-B236-F1791981A82C}" destId="{1656856F-043E-4B70-9C15-EFEF42FF36E9}" srcOrd="0" destOrd="0" presId="urn:microsoft.com/office/officeart/2009/3/layout/StepUpProcess"/>
    <dgm:cxn modelId="{B980B974-D262-4AFF-9BA5-761C23FCAAEF}" type="presParOf" srcId="{0D067E0F-EAC2-4978-B236-F1791981A82C}" destId="{DBB0349A-9669-4E86-8D25-A95262A5E6E7}" srcOrd="1" destOrd="0" presId="urn:microsoft.com/office/officeart/2009/3/layout/StepUpProcess"/>
    <dgm:cxn modelId="{D52FF2DD-3987-4368-878E-8D91F3092AE4}" type="presParOf" srcId="{0D067E0F-EAC2-4978-B236-F1791981A82C}" destId="{E78A156A-50C2-4C39-B074-5937A07F0C50}" srcOrd="2" destOrd="0" presId="urn:microsoft.com/office/officeart/2009/3/layout/StepUpProcess"/>
    <dgm:cxn modelId="{B5499058-28DC-45B1-BD2A-A27C336B22A1}" type="presParOf" srcId="{B6821AF0-1469-4BEC-86B1-9FBE0C305181}" destId="{A5945E01-9E8B-4A9F-B67A-78E312EFBF50}" srcOrd="7" destOrd="0" presId="urn:microsoft.com/office/officeart/2009/3/layout/StepUpProcess"/>
    <dgm:cxn modelId="{D99F25F3-7070-4711-8C2D-904219CF6C5C}" type="presParOf" srcId="{A5945E01-9E8B-4A9F-B67A-78E312EFBF50}" destId="{41BB9253-AFE2-46ED-B0E3-A0EE0EB5ED80}" srcOrd="0" destOrd="0" presId="urn:microsoft.com/office/officeart/2009/3/layout/StepUpProcess"/>
    <dgm:cxn modelId="{CFE207E4-DE0D-48C4-B018-E1DF36AB46F0}" type="presParOf" srcId="{B6821AF0-1469-4BEC-86B1-9FBE0C305181}" destId="{A5B756AE-6252-46EB-AE58-C537CC718FC0}" srcOrd="8" destOrd="0" presId="urn:microsoft.com/office/officeart/2009/3/layout/StepUpProcess"/>
    <dgm:cxn modelId="{5FAF4242-99A8-4937-88DD-47B1CFD0439B}" type="presParOf" srcId="{A5B756AE-6252-46EB-AE58-C537CC718FC0}" destId="{FC61F493-234D-40CB-A717-43E47652CD4F}" srcOrd="0" destOrd="0" presId="urn:microsoft.com/office/officeart/2009/3/layout/StepUpProcess"/>
    <dgm:cxn modelId="{F8609C93-4376-4819-B821-5ABD6046D8E4}" type="presParOf" srcId="{A5B756AE-6252-46EB-AE58-C537CC718FC0}" destId="{C8A49ED2-7C66-42C2-8457-00E571E78628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341BF85D-3A0A-48D4-AC04-F617F805D6F7}" type="doc">
      <dgm:prSet loTypeId="urn:microsoft.com/office/officeart/2009/3/layout/StepUpProcess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FF004DF6-9C9C-47A2-8842-C2A6E28592D6}">
      <dgm:prSet phldrT="[Text]"/>
      <dgm:spPr/>
      <dgm:t>
        <a:bodyPr/>
        <a:lstStyle/>
        <a:p>
          <a:r>
            <a:rPr lang="de-DE" dirty="0"/>
            <a:t>Anfänger</a:t>
          </a:r>
        </a:p>
      </dgm:t>
    </dgm:pt>
    <dgm:pt modelId="{259C820D-050F-4923-AB18-7225D580A786}" type="parTrans" cxnId="{065DA1A4-3034-48DB-A389-891929538542}">
      <dgm:prSet/>
      <dgm:spPr/>
      <dgm:t>
        <a:bodyPr/>
        <a:lstStyle/>
        <a:p>
          <a:endParaRPr lang="de-DE"/>
        </a:p>
      </dgm:t>
    </dgm:pt>
    <dgm:pt modelId="{4DE355CA-54C8-4FE6-A3C3-58DD312B4C49}" type="sibTrans" cxnId="{065DA1A4-3034-48DB-A389-891929538542}">
      <dgm:prSet/>
      <dgm:spPr/>
      <dgm:t>
        <a:bodyPr/>
        <a:lstStyle/>
        <a:p>
          <a:endParaRPr lang="de-DE"/>
        </a:p>
      </dgm:t>
    </dgm:pt>
    <dgm:pt modelId="{D0FD31DF-F17E-48D9-9933-4894DCECD2A0}">
      <dgm:prSet phldrT="[Text]"/>
      <dgm:spPr/>
      <dgm:t>
        <a:bodyPr/>
        <a:lstStyle/>
        <a:p>
          <a:r>
            <a:rPr lang="de-DE" dirty="0"/>
            <a:t>Fortgeschrittener Anfänger</a:t>
          </a:r>
        </a:p>
      </dgm:t>
    </dgm:pt>
    <dgm:pt modelId="{2056A0E1-85DA-4F30-8B78-26BF3729C91E}" type="parTrans" cxnId="{733757D1-A30F-4A86-8942-379EA9C9A42C}">
      <dgm:prSet/>
      <dgm:spPr/>
      <dgm:t>
        <a:bodyPr/>
        <a:lstStyle/>
        <a:p>
          <a:endParaRPr lang="de-DE"/>
        </a:p>
      </dgm:t>
    </dgm:pt>
    <dgm:pt modelId="{4A8236D0-712C-4796-B6E0-6B58F4BCE900}" type="sibTrans" cxnId="{733757D1-A30F-4A86-8942-379EA9C9A42C}">
      <dgm:prSet/>
      <dgm:spPr/>
      <dgm:t>
        <a:bodyPr/>
        <a:lstStyle/>
        <a:p>
          <a:endParaRPr lang="de-DE"/>
        </a:p>
      </dgm:t>
    </dgm:pt>
    <dgm:pt modelId="{D4B41878-58A5-47A7-936C-F6B44E5C0519}">
      <dgm:prSet phldrT="[Text]"/>
      <dgm:spPr/>
      <dgm:t>
        <a:bodyPr/>
        <a:lstStyle/>
        <a:p>
          <a:r>
            <a:rPr lang="de-DE" dirty="0"/>
            <a:t>Kompetent Pflegender</a:t>
          </a:r>
        </a:p>
      </dgm:t>
    </dgm:pt>
    <dgm:pt modelId="{E238C2AA-41EC-4C7F-B90A-9D208B8702CE}" type="parTrans" cxnId="{6C8B05B2-2F28-4873-8FA6-362E2CFE9E8D}">
      <dgm:prSet/>
      <dgm:spPr/>
      <dgm:t>
        <a:bodyPr/>
        <a:lstStyle/>
        <a:p>
          <a:endParaRPr lang="de-DE"/>
        </a:p>
      </dgm:t>
    </dgm:pt>
    <dgm:pt modelId="{3F8042F8-9EA3-44C3-AE3D-C1C43D466D0E}" type="sibTrans" cxnId="{6C8B05B2-2F28-4873-8FA6-362E2CFE9E8D}">
      <dgm:prSet/>
      <dgm:spPr/>
      <dgm:t>
        <a:bodyPr/>
        <a:lstStyle/>
        <a:p>
          <a:endParaRPr lang="de-DE"/>
        </a:p>
      </dgm:t>
    </dgm:pt>
    <dgm:pt modelId="{E886F94A-BD09-4843-92AC-BC45ABB3211D}">
      <dgm:prSet phldrT="[Text]"/>
      <dgm:spPr/>
      <dgm:t>
        <a:bodyPr/>
        <a:lstStyle/>
        <a:p>
          <a:r>
            <a:rPr lang="de-DE" dirty="0"/>
            <a:t>Erfahrener Pflegender</a:t>
          </a:r>
        </a:p>
      </dgm:t>
    </dgm:pt>
    <dgm:pt modelId="{07727214-E1D3-44E7-A69C-E79DFCBEFF6B}" type="parTrans" cxnId="{8BA741C8-2F0D-4DB8-8742-18F1EBAB3457}">
      <dgm:prSet/>
      <dgm:spPr/>
      <dgm:t>
        <a:bodyPr/>
        <a:lstStyle/>
        <a:p>
          <a:endParaRPr lang="de-DE"/>
        </a:p>
      </dgm:t>
    </dgm:pt>
    <dgm:pt modelId="{DF7244D7-4B02-4FA5-AEA9-C1782109BE4B}" type="sibTrans" cxnId="{8BA741C8-2F0D-4DB8-8742-18F1EBAB3457}">
      <dgm:prSet/>
      <dgm:spPr/>
      <dgm:t>
        <a:bodyPr/>
        <a:lstStyle/>
        <a:p>
          <a:endParaRPr lang="de-DE"/>
        </a:p>
      </dgm:t>
    </dgm:pt>
    <dgm:pt modelId="{244E1097-BE62-4129-9C21-242CF324FEEE}">
      <dgm:prSet phldrT="[Text]"/>
      <dgm:spPr/>
      <dgm:t>
        <a:bodyPr/>
        <a:lstStyle/>
        <a:p>
          <a:r>
            <a:rPr lang="de-DE" dirty="0"/>
            <a:t>Pflegeexperte</a:t>
          </a:r>
        </a:p>
      </dgm:t>
    </dgm:pt>
    <dgm:pt modelId="{03A2F4B5-91A3-4664-8A8A-E01DE594C286}" type="parTrans" cxnId="{EDC6EC4E-8EAD-419B-885D-3070A4E071D3}">
      <dgm:prSet/>
      <dgm:spPr/>
      <dgm:t>
        <a:bodyPr/>
        <a:lstStyle/>
        <a:p>
          <a:endParaRPr lang="de-DE"/>
        </a:p>
      </dgm:t>
    </dgm:pt>
    <dgm:pt modelId="{BCE08F10-0180-4450-AF6D-243C33A8B731}" type="sibTrans" cxnId="{EDC6EC4E-8EAD-419B-885D-3070A4E071D3}">
      <dgm:prSet/>
      <dgm:spPr/>
      <dgm:t>
        <a:bodyPr/>
        <a:lstStyle/>
        <a:p>
          <a:endParaRPr lang="de-DE"/>
        </a:p>
      </dgm:t>
    </dgm:pt>
    <dgm:pt modelId="{B6821AF0-1469-4BEC-86B1-9FBE0C305181}" type="pres">
      <dgm:prSet presAssocID="{341BF85D-3A0A-48D4-AC04-F617F805D6F7}" presName="rootnode" presStyleCnt="0">
        <dgm:presLayoutVars>
          <dgm:chMax/>
          <dgm:chPref/>
          <dgm:dir/>
          <dgm:animLvl val="lvl"/>
        </dgm:presLayoutVars>
      </dgm:prSet>
      <dgm:spPr/>
    </dgm:pt>
    <dgm:pt modelId="{AC6B00F2-F9B4-4ADF-9914-85300E59499B}" type="pres">
      <dgm:prSet presAssocID="{FF004DF6-9C9C-47A2-8842-C2A6E28592D6}" presName="composite" presStyleCnt="0"/>
      <dgm:spPr/>
    </dgm:pt>
    <dgm:pt modelId="{B7F781B7-93D8-4014-B194-56CA5549CD57}" type="pres">
      <dgm:prSet presAssocID="{FF004DF6-9C9C-47A2-8842-C2A6E28592D6}" presName="LShape" presStyleLbl="alignNode1" presStyleIdx="0" presStyleCnt="9"/>
      <dgm:spPr/>
    </dgm:pt>
    <dgm:pt modelId="{DCDC79E5-52CD-4A3C-B843-24EDD52DA279}" type="pres">
      <dgm:prSet presAssocID="{FF004DF6-9C9C-47A2-8842-C2A6E28592D6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8101D0EB-6349-45B0-9D46-A0533426FF7F}" type="pres">
      <dgm:prSet presAssocID="{FF004DF6-9C9C-47A2-8842-C2A6E28592D6}" presName="Triangle" presStyleLbl="alignNode1" presStyleIdx="1" presStyleCnt="9"/>
      <dgm:spPr/>
    </dgm:pt>
    <dgm:pt modelId="{409803AF-C9E5-4B39-A979-5A9F54081CBB}" type="pres">
      <dgm:prSet presAssocID="{4DE355CA-54C8-4FE6-A3C3-58DD312B4C49}" presName="sibTrans" presStyleCnt="0"/>
      <dgm:spPr/>
    </dgm:pt>
    <dgm:pt modelId="{E0DA216C-3C22-4171-BBC1-607CFB1ED92D}" type="pres">
      <dgm:prSet presAssocID="{4DE355CA-54C8-4FE6-A3C3-58DD312B4C49}" presName="space" presStyleCnt="0"/>
      <dgm:spPr/>
    </dgm:pt>
    <dgm:pt modelId="{F3D6B3E7-C61A-4E6D-9AE6-0593EC5A8D45}" type="pres">
      <dgm:prSet presAssocID="{D0FD31DF-F17E-48D9-9933-4894DCECD2A0}" presName="composite" presStyleCnt="0"/>
      <dgm:spPr/>
    </dgm:pt>
    <dgm:pt modelId="{E5AF5CF2-B4C9-4B69-A069-6C28A407F2AA}" type="pres">
      <dgm:prSet presAssocID="{D0FD31DF-F17E-48D9-9933-4894DCECD2A0}" presName="LShape" presStyleLbl="alignNode1" presStyleIdx="2" presStyleCnt="9"/>
      <dgm:spPr/>
    </dgm:pt>
    <dgm:pt modelId="{110DDB13-D7EC-4357-A30A-01737DEDD158}" type="pres">
      <dgm:prSet presAssocID="{D0FD31DF-F17E-48D9-9933-4894DCECD2A0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55E77BF2-B3C3-45C8-81E7-58DA03A285F5}" type="pres">
      <dgm:prSet presAssocID="{D0FD31DF-F17E-48D9-9933-4894DCECD2A0}" presName="Triangle" presStyleLbl="alignNode1" presStyleIdx="3" presStyleCnt="9"/>
      <dgm:spPr/>
    </dgm:pt>
    <dgm:pt modelId="{2D4108C7-114F-4CE0-96A6-04F8514659A6}" type="pres">
      <dgm:prSet presAssocID="{4A8236D0-712C-4796-B6E0-6B58F4BCE900}" presName="sibTrans" presStyleCnt="0"/>
      <dgm:spPr/>
    </dgm:pt>
    <dgm:pt modelId="{462619C8-FF45-424B-8BFD-07E0D95ACBAF}" type="pres">
      <dgm:prSet presAssocID="{4A8236D0-712C-4796-B6E0-6B58F4BCE900}" presName="space" presStyleCnt="0"/>
      <dgm:spPr/>
    </dgm:pt>
    <dgm:pt modelId="{83B535E4-5379-4D35-8206-91CFE1E73201}" type="pres">
      <dgm:prSet presAssocID="{D4B41878-58A5-47A7-936C-F6B44E5C0519}" presName="composite" presStyleCnt="0"/>
      <dgm:spPr/>
    </dgm:pt>
    <dgm:pt modelId="{D3EDCBDE-0E9C-44A2-98E7-EBA9C531E515}" type="pres">
      <dgm:prSet presAssocID="{D4B41878-58A5-47A7-936C-F6B44E5C0519}" presName="LShape" presStyleLbl="alignNode1" presStyleIdx="4" presStyleCnt="9"/>
      <dgm:spPr/>
    </dgm:pt>
    <dgm:pt modelId="{A3125DF7-4948-4BAB-BF5A-B5E2917FEE2B}" type="pres">
      <dgm:prSet presAssocID="{D4B41878-58A5-47A7-936C-F6B44E5C0519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82FA7DD1-E555-4DDD-945D-17F95F27B18F}" type="pres">
      <dgm:prSet presAssocID="{D4B41878-58A5-47A7-936C-F6B44E5C0519}" presName="Triangle" presStyleLbl="alignNode1" presStyleIdx="5" presStyleCnt="9"/>
      <dgm:spPr/>
    </dgm:pt>
    <dgm:pt modelId="{35DCA56E-CD0F-46EB-B34A-A09FC511283B}" type="pres">
      <dgm:prSet presAssocID="{3F8042F8-9EA3-44C3-AE3D-C1C43D466D0E}" presName="sibTrans" presStyleCnt="0"/>
      <dgm:spPr/>
    </dgm:pt>
    <dgm:pt modelId="{71D0B503-02A2-48F3-A1F9-FEC2D50A19B6}" type="pres">
      <dgm:prSet presAssocID="{3F8042F8-9EA3-44C3-AE3D-C1C43D466D0E}" presName="space" presStyleCnt="0"/>
      <dgm:spPr/>
    </dgm:pt>
    <dgm:pt modelId="{0D067E0F-EAC2-4978-B236-F1791981A82C}" type="pres">
      <dgm:prSet presAssocID="{E886F94A-BD09-4843-92AC-BC45ABB3211D}" presName="composite" presStyleCnt="0"/>
      <dgm:spPr/>
    </dgm:pt>
    <dgm:pt modelId="{1656856F-043E-4B70-9C15-EFEF42FF36E9}" type="pres">
      <dgm:prSet presAssocID="{E886F94A-BD09-4843-92AC-BC45ABB3211D}" presName="LShape" presStyleLbl="alignNode1" presStyleIdx="6" presStyleCnt="9"/>
      <dgm:spPr/>
    </dgm:pt>
    <dgm:pt modelId="{DBB0349A-9669-4E86-8D25-A95262A5E6E7}" type="pres">
      <dgm:prSet presAssocID="{E886F94A-BD09-4843-92AC-BC45ABB3211D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E78A156A-50C2-4C39-B074-5937A07F0C50}" type="pres">
      <dgm:prSet presAssocID="{E886F94A-BD09-4843-92AC-BC45ABB3211D}" presName="Triangle" presStyleLbl="alignNode1" presStyleIdx="7" presStyleCnt="9"/>
      <dgm:spPr/>
    </dgm:pt>
    <dgm:pt modelId="{A5945E01-9E8B-4A9F-B67A-78E312EFBF50}" type="pres">
      <dgm:prSet presAssocID="{DF7244D7-4B02-4FA5-AEA9-C1782109BE4B}" presName="sibTrans" presStyleCnt="0"/>
      <dgm:spPr/>
    </dgm:pt>
    <dgm:pt modelId="{41BB9253-AFE2-46ED-B0E3-A0EE0EB5ED80}" type="pres">
      <dgm:prSet presAssocID="{DF7244D7-4B02-4FA5-AEA9-C1782109BE4B}" presName="space" presStyleCnt="0"/>
      <dgm:spPr/>
    </dgm:pt>
    <dgm:pt modelId="{A5B756AE-6252-46EB-AE58-C537CC718FC0}" type="pres">
      <dgm:prSet presAssocID="{244E1097-BE62-4129-9C21-242CF324FEEE}" presName="composite" presStyleCnt="0"/>
      <dgm:spPr/>
    </dgm:pt>
    <dgm:pt modelId="{FC61F493-234D-40CB-A717-43E47652CD4F}" type="pres">
      <dgm:prSet presAssocID="{244E1097-BE62-4129-9C21-242CF324FEEE}" presName="LShape" presStyleLbl="alignNode1" presStyleIdx="8" presStyleCnt="9"/>
      <dgm:spPr/>
    </dgm:pt>
    <dgm:pt modelId="{C8A49ED2-7C66-42C2-8457-00E571E78628}" type="pres">
      <dgm:prSet presAssocID="{244E1097-BE62-4129-9C21-242CF324FEEE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B62D321A-BC4E-4C43-AFA1-35A465A5382C}" type="presOf" srcId="{E886F94A-BD09-4843-92AC-BC45ABB3211D}" destId="{DBB0349A-9669-4E86-8D25-A95262A5E6E7}" srcOrd="0" destOrd="0" presId="urn:microsoft.com/office/officeart/2009/3/layout/StepUpProcess"/>
    <dgm:cxn modelId="{D9109D48-2E77-49BE-A400-88BBD7FBB52B}" type="presOf" srcId="{244E1097-BE62-4129-9C21-242CF324FEEE}" destId="{C8A49ED2-7C66-42C2-8457-00E571E78628}" srcOrd="0" destOrd="0" presId="urn:microsoft.com/office/officeart/2009/3/layout/StepUpProcess"/>
    <dgm:cxn modelId="{EDC6EC4E-8EAD-419B-885D-3070A4E071D3}" srcId="{341BF85D-3A0A-48D4-AC04-F617F805D6F7}" destId="{244E1097-BE62-4129-9C21-242CF324FEEE}" srcOrd="4" destOrd="0" parTransId="{03A2F4B5-91A3-4664-8A8A-E01DE594C286}" sibTransId="{BCE08F10-0180-4450-AF6D-243C33A8B731}"/>
    <dgm:cxn modelId="{065DA1A4-3034-48DB-A389-891929538542}" srcId="{341BF85D-3A0A-48D4-AC04-F617F805D6F7}" destId="{FF004DF6-9C9C-47A2-8842-C2A6E28592D6}" srcOrd="0" destOrd="0" parTransId="{259C820D-050F-4923-AB18-7225D580A786}" sibTransId="{4DE355CA-54C8-4FE6-A3C3-58DD312B4C49}"/>
    <dgm:cxn modelId="{F1966AA8-DD1F-4F01-885D-7EE5B363CA81}" type="presOf" srcId="{FF004DF6-9C9C-47A2-8842-C2A6E28592D6}" destId="{DCDC79E5-52CD-4A3C-B843-24EDD52DA279}" srcOrd="0" destOrd="0" presId="urn:microsoft.com/office/officeart/2009/3/layout/StepUpProcess"/>
    <dgm:cxn modelId="{666FBAAB-5B38-4FE9-9900-95A84621C1AF}" type="presOf" srcId="{341BF85D-3A0A-48D4-AC04-F617F805D6F7}" destId="{B6821AF0-1469-4BEC-86B1-9FBE0C305181}" srcOrd="0" destOrd="0" presId="urn:microsoft.com/office/officeart/2009/3/layout/StepUpProcess"/>
    <dgm:cxn modelId="{6C8B05B2-2F28-4873-8FA6-362E2CFE9E8D}" srcId="{341BF85D-3A0A-48D4-AC04-F617F805D6F7}" destId="{D4B41878-58A5-47A7-936C-F6B44E5C0519}" srcOrd="2" destOrd="0" parTransId="{E238C2AA-41EC-4C7F-B90A-9D208B8702CE}" sibTransId="{3F8042F8-9EA3-44C3-AE3D-C1C43D466D0E}"/>
    <dgm:cxn modelId="{359E37B5-9C72-4290-8541-791AE62545D6}" type="presOf" srcId="{D4B41878-58A5-47A7-936C-F6B44E5C0519}" destId="{A3125DF7-4948-4BAB-BF5A-B5E2917FEE2B}" srcOrd="0" destOrd="0" presId="urn:microsoft.com/office/officeart/2009/3/layout/StepUpProcess"/>
    <dgm:cxn modelId="{8BA741C8-2F0D-4DB8-8742-18F1EBAB3457}" srcId="{341BF85D-3A0A-48D4-AC04-F617F805D6F7}" destId="{E886F94A-BD09-4843-92AC-BC45ABB3211D}" srcOrd="3" destOrd="0" parTransId="{07727214-E1D3-44E7-A69C-E79DFCBEFF6B}" sibTransId="{DF7244D7-4B02-4FA5-AEA9-C1782109BE4B}"/>
    <dgm:cxn modelId="{733757D1-A30F-4A86-8942-379EA9C9A42C}" srcId="{341BF85D-3A0A-48D4-AC04-F617F805D6F7}" destId="{D0FD31DF-F17E-48D9-9933-4894DCECD2A0}" srcOrd="1" destOrd="0" parTransId="{2056A0E1-85DA-4F30-8B78-26BF3729C91E}" sibTransId="{4A8236D0-712C-4796-B6E0-6B58F4BCE900}"/>
    <dgm:cxn modelId="{C524C2D2-3B72-4AB6-8B6D-67A90AEC2C9B}" type="presOf" srcId="{D0FD31DF-F17E-48D9-9933-4894DCECD2A0}" destId="{110DDB13-D7EC-4357-A30A-01737DEDD158}" srcOrd="0" destOrd="0" presId="urn:microsoft.com/office/officeart/2009/3/layout/StepUpProcess"/>
    <dgm:cxn modelId="{59EA720E-95AD-473E-BF17-771FA212D67A}" type="presParOf" srcId="{B6821AF0-1469-4BEC-86B1-9FBE0C305181}" destId="{AC6B00F2-F9B4-4ADF-9914-85300E59499B}" srcOrd="0" destOrd="0" presId="urn:microsoft.com/office/officeart/2009/3/layout/StepUpProcess"/>
    <dgm:cxn modelId="{ABDD9873-9434-4807-96FF-BBD96B4AC413}" type="presParOf" srcId="{AC6B00F2-F9B4-4ADF-9914-85300E59499B}" destId="{B7F781B7-93D8-4014-B194-56CA5549CD57}" srcOrd="0" destOrd="0" presId="urn:microsoft.com/office/officeart/2009/3/layout/StepUpProcess"/>
    <dgm:cxn modelId="{2BBA8539-94A3-48A4-92D2-4CEE1A24425F}" type="presParOf" srcId="{AC6B00F2-F9B4-4ADF-9914-85300E59499B}" destId="{DCDC79E5-52CD-4A3C-B843-24EDD52DA279}" srcOrd="1" destOrd="0" presId="urn:microsoft.com/office/officeart/2009/3/layout/StepUpProcess"/>
    <dgm:cxn modelId="{6B91CEC5-F105-48BF-85F3-183194A7D35D}" type="presParOf" srcId="{AC6B00F2-F9B4-4ADF-9914-85300E59499B}" destId="{8101D0EB-6349-45B0-9D46-A0533426FF7F}" srcOrd="2" destOrd="0" presId="urn:microsoft.com/office/officeart/2009/3/layout/StepUpProcess"/>
    <dgm:cxn modelId="{7DCFB6B7-CA9A-4027-94D2-05C9EC7AA8B9}" type="presParOf" srcId="{B6821AF0-1469-4BEC-86B1-9FBE0C305181}" destId="{409803AF-C9E5-4B39-A979-5A9F54081CBB}" srcOrd="1" destOrd="0" presId="urn:microsoft.com/office/officeart/2009/3/layout/StepUpProcess"/>
    <dgm:cxn modelId="{18244655-3C21-48FC-9541-8E8B5D30002A}" type="presParOf" srcId="{409803AF-C9E5-4B39-A979-5A9F54081CBB}" destId="{E0DA216C-3C22-4171-BBC1-607CFB1ED92D}" srcOrd="0" destOrd="0" presId="urn:microsoft.com/office/officeart/2009/3/layout/StepUpProcess"/>
    <dgm:cxn modelId="{3447519F-6BC6-440B-BA1C-C87503483746}" type="presParOf" srcId="{B6821AF0-1469-4BEC-86B1-9FBE0C305181}" destId="{F3D6B3E7-C61A-4E6D-9AE6-0593EC5A8D45}" srcOrd="2" destOrd="0" presId="urn:microsoft.com/office/officeart/2009/3/layout/StepUpProcess"/>
    <dgm:cxn modelId="{B3005E57-7F82-47D4-937A-4C9FB84AC6BD}" type="presParOf" srcId="{F3D6B3E7-C61A-4E6D-9AE6-0593EC5A8D45}" destId="{E5AF5CF2-B4C9-4B69-A069-6C28A407F2AA}" srcOrd="0" destOrd="0" presId="urn:microsoft.com/office/officeart/2009/3/layout/StepUpProcess"/>
    <dgm:cxn modelId="{885830BC-9276-42BD-B1EF-A0C772397C9F}" type="presParOf" srcId="{F3D6B3E7-C61A-4E6D-9AE6-0593EC5A8D45}" destId="{110DDB13-D7EC-4357-A30A-01737DEDD158}" srcOrd="1" destOrd="0" presId="urn:microsoft.com/office/officeart/2009/3/layout/StepUpProcess"/>
    <dgm:cxn modelId="{E89CF7F3-9BB3-4CEE-9E91-148B173F9231}" type="presParOf" srcId="{F3D6B3E7-C61A-4E6D-9AE6-0593EC5A8D45}" destId="{55E77BF2-B3C3-45C8-81E7-58DA03A285F5}" srcOrd="2" destOrd="0" presId="urn:microsoft.com/office/officeart/2009/3/layout/StepUpProcess"/>
    <dgm:cxn modelId="{3BFF6118-C9AD-4A0F-B9C9-FC5AF2E07D5B}" type="presParOf" srcId="{B6821AF0-1469-4BEC-86B1-9FBE0C305181}" destId="{2D4108C7-114F-4CE0-96A6-04F8514659A6}" srcOrd="3" destOrd="0" presId="urn:microsoft.com/office/officeart/2009/3/layout/StepUpProcess"/>
    <dgm:cxn modelId="{88C4A8DB-8314-43C0-8CCE-3955E1E2DD59}" type="presParOf" srcId="{2D4108C7-114F-4CE0-96A6-04F8514659A6}" destId="{462619C8-FF45-424B-8BFD-07E0D95ACBAF}" srcOrd="0" destOrd="0" presId="urn:microsoft.com/office/officeart/2009/3/layout/StepUpProcess"/>
    <dgm:cxn modelId="{9A548E8A-793C-48AF-9714-670D80B5243B}" type="presParOf" srcId="{B6821AF0-1469-4BEC-86B1-9FBE0C305181}" destId="{83B535E4-5379-4D35-8206-91CFE1E73201}" srcOrd="4" destOrd="0" presId="urn:microsoft.com/office/officeart/2009/3/layout/StepUpProcess"/>
    <dgm:cxn modelId="{CF9BFC7D-9E14-4445-81DC-1B957736217A}" type="presParOf" srcId="{83B535E4-5379-4D35-8206-91CFE1E73201}" destId="{D3EDCBDE-0E9C-44A2-98E7-EBA9C531E515}" srcOrd="0" destOrd="0" presId="urn:microsoft.com/office/officeart/2009/3/layout/StepUpProcess"/>
    <dgm:cxn modelId="{F0275C45-904D-40FB-A07F-71EBB3637362}" type="presParOf" srcId="{83B535E4-5379-4D35-8206-91CFE1E73201}" destId="{A3125DF7-4948-4BAB-BF5A-B5E2917FEE2B}" srcOrd="1" destOrd="0" presId="urn:microsoft.com/office/officeart/2009/3/layout/StepUpProcess"/>
    <dgm:cxn modelId="{140E056D-EC65-4CB8-9EB5-7CCA4B2F2289}" type="presParOf" srcId="{83B535E4-5379-4D35-8206-91CFE1E73201}" destId="{82FA7DD1-E555-4DDD-945D-17F95F27B18F}" srcOrd="2" destOrd="0" presId="urn:microsoft.com/office/officeart/2009/3/layout/StepUpProcess"/>
    <dgm:cxn modelId="{8CE5F793-EC0B-46AF-84A8-5BB35C87E55B}" type="presParOf" srcId="{B6821AF0-1469-4BEC-86B1-9FBE0C305181}" destId="{35DCA56E-CD0F-46EB-B34A-A09FC511283B}" srcOrd="5" destOrd="0" presId="urn:microsoft.com/office/officeart/2009/3/layout/StepUpProcess"/>
    <dgm:cxn modelId="{A9E10183-07F5-4635-88D0-3C6E8612D255}" type="presParOf" srcId="{35DCA56E-CD0F-46EB-B34A-A09FC511283B}" destId="{71D0B503-02A2-48F3-A1F9-FEC2D50A19B6}" srcOrd="0" destOrd="0" presId="urn:microsoft.com/office/officeart/2009/3/layout/StepUpProcess"/>
    <dgm:cxn modelId="{DEE382B1-2490-42B6-A914-E2C1F36E7364}" type="presParOf" srcId="{B6821AF0-1469-4BEC-86B1-9FBE0C305181}" destId="{0D067E0F-EAC2-4978-B236-F1791981A82C}" srcOrd="6" destOrd="0" presId="urn:microsoft.com/office/officeart/2009/3/layout/StepUpProcess"/>
    <dgm:cxn modelId="{8C3A9F7F-D542-400C-AFB7-45C984C15BD2}" type="presParOf" srcId="{0D067E0F-EAC2-4978-B236-F1791981A82C}" destId="{1656856F-043E-4B70-9C15-EFEF42FF36E9}" srcOrd="0" destOrd="0" presId="urn:microsoft.com/office/officeart/2009/3/layout/StepUpProcess"/>
    <dgm:cxn modelId="{B980B974-D262-4AFF-9BA5-761C23FCAAEF}" type="presParOf" srcId="{0D067E0F-EAC2-4978-B236-F1791981A82C}" destId="{DBB0349A-9669-4E86-8D25-A95262A5E6E7}" srcOrd="1" destOrd="0" presId="urn:microsoft.com/office/officeart/2009/3/layout/StepUpProcess"/>
    <dgm:cxn modelId="{D52FF2DD-3987-4368-878E-8D91F3092AE4}" type="presParOf" srcId="{0D067E0F-EAC2-4978-B236-F1791981A82C}" destId="{E78A156A-50C2-4C39-B074-5937A07F0C50}" srcOrd="2" destOrd="0" presId="urn:microsoft.com/office/officeart/2009/3/layout/StepUpProcess"/>
    <dgm:cxn modelId="{B5499058-28DC-45B1-BD2A-A27C336B22A1}" type="presParOf" srcId="{B6821AF0-1469-4BEC-86B1-9FBE0C305181}" destId="{A5945E01-9E8B-4A9F-B67A-78E312EFBF50}" srcOrd="7" destOrd="0" presId="urn:microsoft.com/office/officeart/2009/3/layout/StepUpProcess"/>
    <dgm:cxn modelId="{D99F25F3-7070-4711-8C2D-904219CF6C5C}" type="presParOf" srcId="{A5945E01-9E8B-4A9F-B67A-78E312EFBF50}" destId="{41BB9253-AFE2-46ED-B0E3-A0EE0EB5ED80}" srcOrd="0" destOrd="0" presId="urn:microsoft.com/office/officeart/2009/3/layout/StepUpProcess"/>
    <dgm:cxn modelId="{CFE207E4-DE0D-48C4-B018-E1DF36AB46F0}" type="presParOf" srcId="{B6821AF0-1469-4BEC-86B1-9FBE0C305181}" destId="{A5B756AE-6252-46EB-AE58-C537CC718FC0}" srcOrd="8" destOrd="0" presId="urn:microsoft.com/office/officeart/2009/3/layout/StepUpProcess"/>
    <dgm:cxn modelId="{5FAF4242-99A8-4937-88DD-47B1CFD0439B}" type="presParOf" srcId="{A5B756AE-6252-46EB-AE58-C537CC718FC0}" destId="{FC61F493-234D-40CB-A717-43E47652CD4F}" srcOrd="0" destOrd="0" presId="urn:microsoft.com/office/officeart/2009/3/layout/StepUpProcess"/>
    <dgm:cxn modelId="{F8609C93-4376-4819-B821-5ABD6046D8E4}" type="presParOf" srcId="{A5B756AE-6252-46EB-AE58-C537CC718FC0}" destId="{C8A49ED2-7C66-42C2-8457-00E571E78628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341BF85D-3A0A-48D4-AC04-F617F805D6F7}" type="doc">
      <dgm:prSet loTypeId="urn:microsoft.com/office/officeart/2009/3/layout/StepUpProcess" loCatId="process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de-DE"/>
        </a:p>
      </dgm:t>
    </dgm:pt>
    <dgm:pt modelId="{FF004DF6-9C9C-47A2-8842-C2A6E28592D6}">
      <dgm:prSet phldrT="[Text]"/>
      <dgm:spPr/>
      <dgm:t>
        <a:bodyPr/>
        <a:lstStyle/>
        <a:p>
          <a:r>
            <a:rPr lang="de-DE" dirty="0">
              <a:solidFill>
                <a:schemeClr val="bg2"/>
              </a:solidFill>
            </a:rPr>
            <a:t>Anfänger</a:t>
          </a:r>
        </a:p>
      </dgm:t>
    </dgm:pt>
    <dgm:pt modelId="{259C820D-050F-4923-AB18-7225D580A786}" type="parTrans" cxnId="{065DA1A4-3034-48DB-A389-891929538542}">
      <dgm:prSet/>
      <dgm:spPr/>
      <dgm:t>
        <a:bodyPr/>
        <a:lstStyle/>
        <a:p>
          <a:endParaRPr lang="de-DE"/>
        </a:p>
      </dgm:t>
    </dgm:pt>
    <dgm:pt modelId="{4DE355CA-54C8-4FE6-A3C3-58DD312B4C49}" type="sibTrans" cxnId="{065DA1A4-3034-48DB-A389-891929538542}">
      <dgm:prSet/>
      <dgm:spPr/>
      <dgm:t>
        <a:bodyPr/>
        <a:lstStyle/>
        <a:p>
          <a:endParaRPr lang="de-DE"/>
        </a:p>
      </dgm:t>
    </dgm:pt>
    <dgm:pt modelId="{D0FD31DF-F17E-48D9-9933-4894DCECD2A0}">
      <dgm:prSet phldrT="[Text]"/>
      <dgm:spPr/>
      <dgm:t>
        <a:bodyPr/>
        <a:lstStyle/>
        <a:p>
          <a:r>
            <a:rPr lang="de-DE" dirty="0">
              <a:solidFill>
                <a:schemeClr val="bg2"/>
              </a:solidFill>
            </a:rPr>
            <a:t>Fortgeschrittener Anfänger</a:t>
          </a:r>
        </a:p>
      </dgm:t>
    </dgm:pt>
    <dgm:pt modelId="{2056A0E1-85DA-4F30-8B78-26BF3729C91E}" type="parTrans" cxnId="{733757D1-A30F-4A86-8942-379EA9C9A42C}">
      <dgm:prSet/>
      <dgm:spPr/>
      <dgm:t>
        <a:bodyPr/>
        <a:lstStyle/>
        <a:p>
          <a:endParaRPr lang="de-DE"/>
        </a:p>
      </dgm:t>
    </dgm:pt>
    <dgm:pt modelId="{4A8236D0-712C-4796-B6E0-6B58F4BCE900}" type="sibTrans" cxnId="{733757D1-A30F-4A86-8942-379EA9C9A42C}">
      <dgm:prSet/>
      <dgm:spPr/>
      <dgm:t>
        <a:bodyPr/>
        <a:lstStyle/>
        <a:p>
          <a:endParaRPr lang="de-DE"/>
        </a:p>
      </dgm:t>
    </dgm:pt>
    <dgm:pt modelId="{D4B41878-58A5-47A7-936C-F6B44E5C0519}">
      <dgm:prSet phldrT="[Text]"/>
      <dgm:spPr/>
      <dgm:t>
        <a:bodyPr/>
        <a:lstStyle/>
        <a:p>
          <a:r>
            <a:rPr lang="de-DE" dirty="0">
              <a:solidFill>
                <a:schemeClr val="bg2"/>
              </a:solidFill>
            </a:rPr>
            <a:t>Kompetent Pflegender</a:t>
          </a:r>
        </a:p>
      </dgm:t>
    </dgm:pt>
    <dgm:pt modelId="{E238C2AA-41EC-4C7F-B90A-9D208B8702CE}" type="parTrans" cxnId="{6C8B05B2-2F28-4873-8FA6-362E2CFE9E8D}">
      <dgm:prSet/>
      <dgm:spPr/>
      <dgm:t>
        <a:bodyPr/>
        <a:lstStyle/>
        <a:p>
          <a:endParaRPr lang="de-DE"/>
        </a:p>
      </dgm:t>
    </dgm:pt>
    <dgm:pt modelId="{3F8042F8-9EA3-44C3-AE3D-C1C43D466D0E}" type="sibTrans" cxnId="{6C8B05B2-2F28-4873-8FA6-362E2CFE9E8D}">
      <dgm:prSet/>
      <dgm:spPr/>
      <dgm:t>
        <a:bodyPr/>
        <a:lstStyle/>
        <a:p>
          <a:endParaRPr lang="de-DE"/>
        </a:p>
      </dgm:t>
    </dgm:pt>
    <dgm:pt modelId="{E886F94A-BD09-4843-92AC-BC45ABB3211D}">
      <dgm:prSet phldrT="[Text]"/>
      <dgm:spPr/>
      <dgm:t>
        <a:bodyPr/>
        <a:lstStyle/>
        <a:p>
          <a:r>
            <a:rPr lang="de-DE" dirty="0">
              <a:solidFill>
                <a:schemeClr val="bg2"/>
              </a:solidFill>
            </a:rPr>
            <a:t>Erfahrener Pflegender</a:t>
          </a:r>
        </a:p>
      </dgm:t>
    </dgm:pt>
    <dgm:pt modelId="{07727214-E1D3-44E7-A69C-E79DFCBEFF6B}" type="parTrans" cxnId="{8BA741C8-2F0D-4DB8-8742-18F1EBAB3457}">
      <dgm:prSet/>
      <dgm:spPr/>
      <dgm:t>
        <a:bodyPr/>
        <a:lstStyle/>
        <a:p>
          <a:endParaRPr lang="de-DE"/>
        </a:p>
      </dgm:t>
    </dgm:pt>
    <dgm:pt modelId="{DF7244D7-4B02-4FA5-AEA9-C1782109BE4B}" type="sibTrans" cxnId="{8BA741C8-2F0D-4DB8-8742-18F1EBAB3457}">
      <dgm:prSet/>
      <dgm:spPr/>
      <dgm:t>
        <a:bodyPr/>
        <a:lstStyle/>
        <a:p>
          <a:endParaRPr lang="de-DE"/>
        </a:p>
      </dgm:t>
    </dgm:pt>
    <dgm:pt modelId="{244E1097-BE62-4129-9C21-242CF324FEEE}">
      <dgm:prSet phldrT="[Text]"/>
      <dgm:spPr/>
      <dgm:t>
        <a:bodyPr/>
        <a:lstStyle/>
        <a:p>
          <a:r>
            <a:rPr lang="de-DE" dirty="0">
              <a:solidFill>
                <a:schemeClr val="bg2"/>
              </a:solidFill>
            </a:rPr>
            <a:t>Pflegeexperte</a:t>
          </a:r>
        </a:p>
      </dgm:t>
    </dgm:pt>
    <dgm:pt modelId="{03A2F4B5-91A3-4664-8A8A-E01DE594C286}" type="parTrans" cxnId="{EDC6EC4E-8EAD-419B-885D-3070A4E071D3}">
      <dgm:prSet/>
      <dgm:spPr/>
      <dgm:t>
        <a:bodyPr/>
        <a:lstStyle/>
        <a:p>
          <a:endParaRPr lang="de-DE"/>
        </a:p>
      </dgm:t>
    </dgm:pt>
    <dgm:pt modelId="{BCE08F10-0180-4450-AF6D-243C33A8B731}" type="sibTrans" cxnId="{EDC6EC4E-8EAD-419B-885D-3070A4E071D3}">
      <dgm:prSet/>
      <dgm:spPr/>
      <dgm:t>
        <a:bodyPr/>
        <a:lstStyle/>
        <a:p>
          <a:endParaRPr lang="de-DE"/>
        </a:p>
      </dgm:t>
    </dgm:pt>
    <dgm:pt modelId="{B6821AF0-1469-4BEC-86B1-9FBE0C305181}" type="pres">
      <dgm:prSet presAssocID="{341BF85D-3A0A-48D4-AC04-F617F805D6F7}" presName="rootnode" presStyleCnt="0">
        <dgm:presLayoutVars>
          <dgm:chMax/>
          <dgm:chPref/>
          <dgm:dir/>
          <dgm:animLvl val="lvl"/>
        </dgm:presLayoutVars>
      </dgm:prSet>
      <dgm:spPr/>
    </dgm:pt>
    <dgm:pt modelId="{AC6B00F2-F9B4-4ADF-9914-85300E59499B}" type="pres">
      <dgm:prSet presAssocID="{FF004DF6-9C9C-47A2-8842-C2A6E28592D6}" presName="composite" presStyleCnt="0"/>
      <dgm:spPr/>
    </dgm:pt>
    <dgm:pt modelId="{B7F781B7-93D8-4014-B194-56CA5549CD57}" type="pres">
      <dgm:prSet presAssocID="{FF004DF6-9C9C-47A2-8842-C2A6E28592D6}" presName="LShape" presStyleLbl="alignNode1" presStyleIdx="0" presStyleCnt="9"/>
      <dgm:spPr/>
    </dgm:pt>
    <dgm:pt modelId="{DCDC79E5-52CD-4A3C-B843-24EDD52DA279}" type="pres">
      <dgm:prSet presAssocID="{FF004DF6-9C9C-47A2-8842-C2A6E28592D6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8101D0EB-6349-45B0-9D46-A0533426FF7F}" type="pres">
      <dgm:prSet presAssocID="{FF004DF6-9C9C-47A2-8842-C2A6E28592D6}" presName="Triangle" presStyleLbl="alignNode1" presStyleIdx="1" presStyleCnt="9"/>
      <dgm:spPr/>
    </dgm:pt>
    <dgm:pt modelId="{409803AF-C9E5-4B39-A979-5A9F54081CBB}" type="pres">
      <dgm:prSet presAssocID="{4DE355CA-54C8-4FE6-A3C3-58DD312B4C49}" presName="sibTrans" presStyleCnt="0"/>
      <dgm:spPr/>
    </dgm:pt>
    <dgm:pt modelId="{E0DA216C-3C22-4171-BBC1-607CFB1ED92D}" type="pres">
      <dgm:prSet presAssocID="{4DE355CA-54C8-4FE6-A3C3-58DD312B4C49}" presName="space" presStyleCnt="0"/>
      <dgm:spPr/>
    </dgm:pt>
    <dgm:pt modelId="{F3D6B3E7-C61A-4E6D-9AE6-0593EC5A8D45}" type="pres">
      <dgm:prSet presAssocID="{D0FD31DF-F17E-48D9-9933-4894DCECD2A0}" presName="composite" presStyleCnt="0"/>
      <dgm:spPr/>
    </dgm:pt>
    <dgm:pt modelId="{E5AF5CF2-B4C9-4B69-A069-6C28A407F2AA}" type="pres">
      <dgm:prSet presAssocID="{D0FD31DF-F17E-48D9-9933-4894DCECD2A0}" presName="LShape" presStyleLbl="alignNode1" presStyleIdx="2" presStyleCnt="9"/>
      <dgm:spPr/>
    </dgm:pt>
    <dgm:pt modelId="{110DDB13-D7EC-4357-A30A-01737DEDD158}" type="pres">
      <dgm:prSet presAssocID="{D0FD31DF-F17E-48D9-9933-4894DCECD2A0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55E77BF2-B3C3-45C8-81E7-58DA03A285F5}" type="pres">
      <dgm:prSet presAssocID="{D0FD31DF-F17E-48D9-9933-4894DCECD2A0}" presName="Triangle" presStyleLbl="alignNode1" presStyleIdx="3" presStyleCnt="9"/>
      <dgm:spPr/>
    </dgm:pt>
    <dgm:pt modelId="{2D4108C7-114F-4CE0-96A6-04F8514659A6}" type="pres">
      <dgm:prSet presAssocID="{4A8236D0-712C-4796-B6E0-6B58F4BCE900}" presName="sibTrans" presStyleCnt="0"/>
      <dgm:spPr/>
    </dgm:pt>
    <dgm:pt modelId="{462619C8-FF45-424B-8BFD-07E0D95ACBAF}" type="pres">
      <dgm:prSet presAssocID="{4A8236D0-712C-4796-B6E0-6B58F4BCE900}" presName="space" presStyleCnt="0"/>
      <dgm:spPr/>
    </dgm:pt>
    <dgm:pt modelId="{83B535E4-5379-4D35-8206-91CFE1E73201}" type="pres">
      <dgm:prSet presAssocID="{D4B41878-58A5-47A7-936C-F6B44E5C0519}" presName="composite" presStyleCnt="0"/>
      <dgm:spPr/>
    </dgm:pt>
    <dgm:pt modelId="{D3EDCBDE-0E9C-44A2-98E7-EBA9C531E515}" type="pres">
      <dgm:prSet presAssocID="{D4B41878-58A5-47A7-936C-F6B44E5C0519}" presName="LShape" presStyleLbl="alignNode1" presStyleIdx="4" presStyleCnt="9"/>
      <dgm:spPr/>
    </dgm:pt>
    <dgm:pt modelId="{A3125DF7-4948-4BAB-BF5A-B5E2917FEE2B}" type="pres">
      <dgm:prSet presAssocID="{D4B41878-58A5-47A7-936C-F6B44E5C0519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82FA7DD1-E555-4DDD-945D-17F95F27B18F}" type="pres">
      <dgm:prSet presAssocID="{D4B41878-58A5-47A7-936C-F6B44E5C0519}" presName="Triangle" presStyleLbl="alignNode1" presStyleIdx="5" presStyleCnt="9"/>
      <dgm:spPr/>
    </dgm:pt>
    <dgm:pt modelId="{35DCA56E-CD0F-46EB-B34A-A09FC511283B}" type="pres">
      <dgm:prSet presAssocID="{3F8042F8-9EA3-44C3-AE3D-C1C43D466D0E}" presName="sibTrans" presStyleCnt="0"/>
      <dgm:spPr/>
    </dgm:pt>
    <dgm:pt modelId="{71D0B503-02A2-48F3-A1F9-FEC2D50A19B6}" type="pres">
      <dgm:prSet presAssocID="{3F8042F8-9EA3-44C3-AE3D-C1C43D466D0E}" presName="space" presStyleCnt="0"/>
      <dgm:spPr/>
    </dgm:pt>
    <dgm:pt modelId="{0D067E0F-EAC2-4978-B236-F1791981A82C}" type="pres">
      <dgm:prSet presAssocID="{E886F94A-BD09-4843-92AC-BC45ABB3211D}" presName="composite" presStyleCnt="0"/>
      <dgm:spPr/>
    </dgm:pt>
    <dgm:pt modelId="{1656856F-043E-4B70-9C15-EFEF42FF36E9}" type="pres">
      <dgm:prSet presAssocID="{E886F94A-BD09-4843-92AC-BC45ABB3211D}" presName="LShape" presStyleLbl="alignNode1" presStyleIdx="6" presStyleCnt="9"/>
      <dgm:spPr/>
    </dgm:pt>
    <dgm:pt modelId="{DBB0349A-9669-4E86-8D25-A95262A5E6E7}" type="pres">
      <dgm:prSet presAssocID="{E886F94A-BD09-4843-92AC-BC45ABB3211D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E78A156A-50C2-4C39-B074-5937A07F0C50}" type="pres">
      <dgm:prSet presAssocID="{E886F94A-BD09-4843-92AC-BC45ABB3211D}" presName="Triangle" presStyleLbl="alignNode1" presStyleIdx="7" presStyleCnt="9"/>
      <dgm:spPr/>
    </dgm:pt>
    <dgm:pt modelId="{A5945E01-9E8B-4A9F-B67A-78E312EFBF50}" type="pres">
      <dgm:prSet presAssocID="{DF7244D7-4B02-4FA5-AEA9-C1782109BE4B}" presName="sibTrans" presStyleCnt="0"/>
      <dgm:spPr/>
    </dgm:pt>
    <dgm:pt modelId="{41BB9253-AFE2-46ED-B0E3-A0EE0EB5ED80}" type="pres">
      <dgm:prSet presAssocID="{DF7244D7-4B02-4FA5-AEA9-C1782109BE4B}" presName="space" presStyleCnt="0"/>
      <dgm:spPr/>
    </dgm:pt>
    <dgm:pt modelId="{A5B756AE-6252-46EB-AE58-C537CC718FC0}" type="pres">
      <dgm:prSet presAssocID="{244E1097-BE62-4129-9C21-242CF324FEEE}" presName="composite" presStyleCnt="0"/>
      <dgm:spPr/>
    </dgm:pt>
    <dgm:pt modelId="{FC61F493-234D-40CB-A717-43E47652CD4F}" type="pres">
      <dgm:prSet presAssocID="{244E1097-BE62-4129-9C21-242CF324FEEE}" presName="LShape" presStyleLbl="alignNode1" presStyleIdx="8" presStyleCnt="9"/>
      <dgm:spPr/>
    </dgm:pt>
    <dgm:pt modelId="{C8A49ED2-7C66-42C2-8457-00E571E78628}" type="pres">
      <dgm:prSet presAssocID="{244E1097-BE62-4129-9C21-242CF324FEEE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B62D321A-BC4E-4C43-AFA1-35A465A5382C}" type="presOf" srcId="{E886F94A-BD09-4843-92AC-BC45ABB3211D}" destId="{DBB0349A-9669-4E86-8D25-A95262A5E6E7}" srcOrd="0" destOrd="0" presId="urn:microsoft.com/office/officeart/2009/3/layout/StepUpProcess"/>
    <dgm:cxn modelId="{D9109D48-2E77-49BE-A400-88BBD7FBB52B}" type="presOf" srcId="{244E1097-BE62-4129-9C21-242CF324FEEE}" destId="{C8A49ED2-7C66-42C2-8457-00E571E78628}" srcOrd="0" destOrd="0" presId="urn:microsoft.com/office/officeart/2009/3/layout/StepUpProcess"/>
    <dgm:cxn modelId="{EDC6EC4E-8EAD-419B-885D-3070A4E071D3}" srcId="{341BF85D-3A0A-48D4-AC04-F617F805D6F7}" destId="{244E1097-BE62-4129-9C21-242CF324FEEE}" srcOrd="4" destOrd="0" parTransId="{03A2F4B5-91A3-4664-8A8A-E01DE594C286}" sibTransId="{BCE08F10-0180-4450-AF6D-243C33A8B731}"/>
    <dgm:cxn modelId="{065DA1A4-3034-48DB-A389-891929538542}" srcId="{341BF85D-3A0A-48D4-AC04-F617F805D6F7}" destId="{FF004DF6-9C9C-47A2-8842-C2A6E28592D6}" srcOrd="0" destOrd="0" parTransId="{259C820D-050F-4923-AB18-7225D580A786}" sibTransId="{4DE355CA-54C8-4FE6-A3C3-58DD312B4C49}"/>
    <dgm:cxn modelId="{F1966AA8-DD1F-4F01-885D-7EE5B363CA81}" type="presOf" srcId="{FF004DF6-9C9C-47A2-8842-C2A6E28592D6}" destId="{DCDC79E5-52CD-4A3C-B843-24EDD52DA279}" srcOrd="0" destOrd="0" presId="urn:microsoft.com/office/officeart/2009/3/layout/StepUpProcess"/>
    <dgm:cxn modelId="{666FBAAB-5B38-4FE9-9900-95A84621C1AF}" type="presOf" srcId="{341BF85D-3A0A-48D4-AC04-F617F805D6F7}" destId="{B6821AF0-1469-4BEC-86B1-9FBE0C305181}" srcOrd="0" destOrd="0" presId="urn:microsoft.com/office/officeart/2009/3/layout/StepUpProcess"/>
    <dgm:cxn modelId="{6C8B05B2-2F28-4873-8FA6-362E2CFE9E8D}" srcId="{341BF85D-3A0A-48D4-AC04-F617F805D6F7}" destId="{D4B41878-58A5-47A7-936C-F6B44E5C0519}" srcOrd="2" destOrd="0" parTransId="{E238C2AA-41EC-4C7F-B90A-9D208B8702CE}" sibTransId="{3F8042F8-9EA3-44C3-AE3D-C1C43D466D0E}"/>
    <dgm:cxn modelId="{359E37B5-9C72-4290-8541-791AE62545D6}" type="presOf" srcId="{D4B41878-58A5-47A7-936C-F6B44E5C0519}" destId="{A3125DF7-4948-4BAB-BF5A-B5E2917FEE2B}" srcOrd="0" destOrd="0" presId="urn:microsoft.com/office/officeart/2009/3/layout/StepUpProcess"/>
    <dgm:cxn modelId="{8BA741C8-2F0D-4DB8-8742-18F1EBAB3457}" srcId="{341BF85D-3A0A-48D4-AC04-F617F805D6F7}" destId="{E886F94A-BD09-4843-92AC-BC45ABB3211D}" srcOrd="3" destOrd="0" parTransId="{07727214-E1D3-44E7-A69C-E79DFCBEFF6B}" sibTransId="{DF7244D7-4B02-4FA5-AEA9-C1782109BE4B}"/>
    <dgm:cxn modelId="{733757D1-A30F-4A86-8942-379EA9C9A42C}" srcId="{341BF85D-3A0A-48D4-AC04-F617F805D6F7}" destId="{D0FD31DF-F17E-48D9-9933-4894DCECD2A0}" srcOrd="1" destOrd="0" parTransId="{2056A0E1-85DA-4F30-8B78-26BF3729C91E}" sibTransId="{4A8236D0-712C-4796-B6E0-6B58F4BCE900}"/>
    <dgm:cxn modelId="{C524C2D2-3B72-4AB6-8B6D-67A90AEC2C9B}" type="presOf" srcId="{D0FD31DF-F17E-48D9-9933-4894DCECD2A0}" destId="{110DDB13-D7EC-4357-A30A-01737DEDD158}" srcOrd="0" destOrd="0" presId="urn:microsoft.com/office/officeart/2009/3/layout/StepUpProcess"/>
    <dgm:cxn modelId="{59EA720E-95AD-473E-BF17-771FA212D67A}" type="presParOf" srcId="{B6821AF0-1469-4BEC-86B1-9FBE0C305181}" destId="{AC6B00F2-F9B4-4ADF-9914-85300E59499B}" srcOrd="0" destOrd="0" presId="urn:microsoft.com/office/officeart/2009/3/layout/StepUpProcess"/>
    <dgm:cxn modelId="{ABDD9873-9434-4807-96FF-BBD96B4AC413}" type="presParOf" srcId="{AC6B00F2-F9B4-4ADF-9914-85300E59499B}" destId="{B7F781B7-93D8-4014-B194-56CA5549CD57}" srcOrd="0" destOrd="0" presId="urn:microsoft.com/office/officeart/2009/3/layout/StepUpProcess"/>
    <dgm:cxn modelId="{2BBA8539-94A3-48A4-92D2-4CEE1A24425F}" type="presParOf" srcId="{AC6B00F2-F9B4-4ADF-9914-85300E59499B}" destId="{DCDC79E5-52CD-4A3C-B843-24EDD52DA279}" srcOrd="1" destOrd="0" presId="urn:microsoft.com/office/officeart/2009/3/layout/StepUpProcess"/>
    <dgm:cxn modelId="{6B91CEC5-F105-48BF-85F3-183194A7D35D}" type="presParOf" srcId="{AC6B00F2-F9B4-4ADF-9914-85300E59499B}" destId="{8101D0EB-6349-45B0-9D46-A0533426FF7F}" srcOrd="2" destOrd="0" presId="urn:microsoft.com/office/officeart/2009/3/layout/StepUpProcess"/>
    <dgm:cxn modelId="{7DCFB6B7-CA9A-4027-94D2-05C9EC7AA8B9}" type="presParOf" srcId="{B6821AF0-1469-4BEC-86B1-9FBE0C305181}" destId="{409803AF-C9E5-4B39-A979-5A9F54081CBB}" srcOrd="1" destOrd="0" presId="urn:microsoft.com/office/officeart/2009/3/layout/StepUpProcess"/>
    <dgm:cxn modelId="{18244655-3C21-48FC-9541-8E8B5D30002A}" type="presParOf" srcId="{409803AF-C9E5-4B39-A979-5A9F54081CBB}" destId="{E0DA216C-3C22-4171-BBC1-607CFB1ED92D}" srcOrd="0" destOrd="0" presId="urn:microsoft.com/office/officeart/2009/3/layout/StepUpProcess"/>
    <dgm:cxn modelId="{3447519F-6BC6-440B-BA1C-C87503483746}" type="presParOf" srcId="{B6821AF0-1469-4BEC-86B1-9FBE0C305181}" destId="{F3D6B3E7-C61A-4E6D-9AE6-0593EC5A8D45}" srcOrd="2" destOrd="0" presId="urn:microsoft.com/office/officeart/2009/3/layout/StepUpProcess"/>
    <dgm:cxn modelId="{B3005E57-7F82-47D4-937A-4C9FB84AC6BD}" type="presParOf" srcId="{F3D6B3E7-C61A-4E6D-9AE6-0593EC5A8D45}" destId="{E5AF5CF2-B4C9-4B69-A069-6C28A407F2AA}" srcOrd="0" destOrd="0" presId="urn:microsoft.com/office/officeart/2009/3/layout/StepUpProcess"/>
    <dgm:cxn modelId="{885830BC-9276-42BD-B1EF-A0C772397C9F}" type="presParOf" srcId="{F3D6B3E7-C61A-4E6D-9AE6-0593EC5A8D45}" destId="{110DDB13-D7EC-4357-A30A-01737DEDD158}" srcOrd="1" destOrd="0" presId="urn:microsoft.com/office/officeart/2009/3/layout/StepUpProcess"/>
    <dgm:cxn modelId="{E89CF7F3-9BB3-4CEE-9E91-148B173F9231}" type="presParOf" srcId="{F3D6B3E7-C61A-4E6D-9AE6-0593EC5A8D45}" destId="{55E77BF2-B3C3-45C8-81E7-58DA03A285F5}" srcOrd="2" destOrd="0" presId="urn:microsoft.com/office/officeart/2009/3/layout/StepUpProcess"/>
    <dgm:cxn modelId="{3BFF6118-C9AD-4A0F-B9C9-FC5AF2E07D5B}" type="presParOf" srcId="{B6821AF0-1469-4BEC-86B1-9FBE0C305181}" destId="{2D4108C7-114F-4CE0-96A6-04F8514659A6}" srcOrd="3" destOrd="0" presId="urn:microsoft.com/office/officeart/2009/3/layout/StepUpProcess"/>
    <dgm:cxn modelId="{88C4A8DB-8314-43C0-8CCE-3955E1E2DD59}" type="presParOf" srcId="{2D4108C7-114F-4CE0-96A6-04F8514659A6}" destId="{462619C8-FF45-424B-8BFD-07E0D95ACBAF}" srcOrd="0" destOrd="0" presId="urn:microsoft.com/office/officeart/2009/3/layout/StepUpProcess"/>
    <dgm:cxn modelId="{9A548E8A-793C-48AF-9714-670D80B5243B}" type="presParOf" srcId="{B6821AF0-1469-4BEC-86B1-9FBE0C305181}" destId="{83B535E4-5379-4D35-8206-91CFE1E73201}" srcOrd="4" destOrd="0" presId="urn:microsoft.com/office/officeart/2009/3/layout/StepUpProcess"/>
    <dgm:cxn modelId="{CF9BFC7D-9E14-4445-81DC-1B957736217A}" type="presParOf" srcId="{83B535E4-5379-4D35-8206-91CFE1E73201}" destId="{D3EDCBDE-0E9C-44A2-98E7-EBA9C531E515}" srcOrd="0" destOrd="0" presId="urn:microsoft.com/office/officeart/2009/3/layout/StepUpProcess"/>
    <dgm:cxn modelId="{F0275C45-904D-40FB-A07F-71EBB3637362}" type="presParOf" srcId="{83B535E4-5379-4D35-8206-91CFE1E73201}" destId="{A3125DF7-4948-4BAB-BF5A-B5E2917FEE2B}" srcOrd="1" destOrd="0" presId="urn:microsoft.com/office/officeart/2009/3/layout/StepUpProcess"/>
    <dgm:cxn modelId="{140E056D-EC65-4CB8-9EB5-7CCA4B2F2289}" type="presParOf" srcId="{83B535E4-5379-4D35-8206-91CFE1E73201}" destId="{82FA7DD1-E555-4DDD-945D-17F95F27B18F}" srcOrd="2" destOrd="0" presId="urn:microsoft.com/office/officeart/2009/3/layout/StepUpProcess"/>
    <dgm:cxn modelId="{8CE5F793-EC0B-46AF-84A8-5BB35C87E55B}" type="presParOf" srcId="{B6821AF0-1469-4BEC-86B1-9FBE0C305181}" destId="{35DCA56E-CD0F-46EB-B34A-A09FC511283B}" srcOrd="5" destOrd="0" presId="urn:microsoft.com/office/officeart/2009/3/layout/StepUpProcess"/>
    <dgm:cxn modelId="{A9E10183-07F5-4635-88D0-3C6E8612D255}" type="presParOf" srcId="{35DCA56E-CD0F-46EB-B34A-A09FC511283B}" destId="{71D0B503-02A2-48F3-A1F9-FEC2D50A19B6}" srcOrd="0" destOrd="0" presId="urn:microsoft.com/office/officeart/2009/3/layout/StepUpProcess"/>
    <dgm:cxn modelId="{DEE382B1-2490-42B6-A914-E2C1F36E7364}" type="presParOf" srcId="{B6821AF0-1469-4BEC-86B1-9FBE0C305181}" destId="{0D067E0F-EAC2-4978-B236-F1791981A82C}" srcOrd="6" destOrd="0" presId="urn:microsoft.com/office/officeart/2009/3/layout/StepUpProcess"/>
    <dgm:cxn modelId="{8C3A9F7F-D542-400C-AFB7-45C984C15BD2}" type="presParOf" srcId="{0D067E0F-EAC2-4978-B236-F1791981A82C}" destId="{1656856F-043E-4B70-9C15-EFEF42FF36E9}" srcOrd="0" destOrd="0" presId="urn:microsoft.com/office/officeart/2009/3/layout/StepUpProcess"/>
    <dgm:cxn modelId="{B980B974-D262-4AFF-9BA5-761C23FCAAEF}" type="presParOf" srcId="{0D067E0F-EAC2-4978-B236-F1791981A82C}" destId="{DBB0349A-9669-4E86-8D25-A95262A5E6E7}" srcOrd="1" destOrd="0" presId="urn:microsoft.com/office/officeart/2009/3/layout/StepUpProcess"/>
    <dgm:cxn modelId="{D52FF2DD-3987-4368-878E-8D91F3092AE4}" type="presParOf" srcId="{0D067E0F-EAC2-4978-B236-F1791981A82C}" destId="{E78A156A-50C2-4C39-B074-5937A07F0C50}" srcOrd="2" destOrd="0" presId="urn:microsoft.com/office/officeart/2009/3/layout/StepUpProcess"/>
    <dgm:cxn modelId="{B5499058-28DC-45B1-BD2A-A27C336B22A1}" type="presParOf" srcId="{B6821AF0-1469-4BEC-86B1-9FBE0C305181}" destId="{A5945E01-9E8B-4A9F-B67A-78E312EFBF50}" srcOrd="7" destOrd="0" presId="urn:microsoft.com/office/officeart/2009/3/layout/StepUpProcess"/>
    <dgm:cxn modelId="{D99F25F3-7070-4711-8C2D-904219CF6C5C}" type="presParOf" srcId="{A5945E01-9E8B-4A9F-B67A-78E312EFBF50}" destId="{41BB9253-AFE2-46ED-B0E3-A0EE0EB5ED80}" srcOrd="0" destOrd="0" presId="urn:microsoft.com/office/officeart/2009/3/layout/StepUpProcess"/>
    <dgm:cxn modelId="{CFE207E4-DE0D-48C4-B018-E1DF36AB46F0}" type="presParOf" srcId="{B6821AF0-1469-4BEC-86B1-9FBE0C305181}" destId="{A5B756AE-6252-46EB-AE58-C537CC718FC0}" srcOrd="8" destOrd="0" presId="urn:microsoft.com/office/officeart/2009/3/layout/StepUpProcess"/>
    <dgm:cxn modelId="{5FAF4242-99A8-4937-88DD-47B1CFD0439B}" type="presParOf" srcId="{A5B756AE-6252-46EB-AE58-C537CC718FC0}" destId="{FC61F493-234D-40CB-A717-43E47652CD4F}" srcOrd="0" destOrd="0" presId="urn:microsoft.com/office/officeart/2009/3/layout/StepUpProcess"/>
    <dgm:cxn modelId="{F8609C93-4376-4819-B821-5ABD6046D8E4}" type="presParOf" srcId="{A5B756AE-6252-46EB-AE58-C537CC718FC0}" destId="{C8A49ED2-7C66-42C2-8457-00E571E78628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341BF85D-3A0A-48D4-AC04-F617F805D6F7}" type="doc">
      <dgm:prSet loTypeId="urn:microsoft.com/office/officeart/2009/3/layout/StepUpProcess" loCatId="process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de-DE"/>
        </a:p>
      </dgm:t>
    </dgm:pt>
    <dgm:pt modelId="{FF004DF6-9C9C-47A2-8842-C2A6E28592D6}">
      <dgm:prSet phldrT="[Text]"/>
      <dgm:spPr/>
      <dgm:t>
        <a:bodyPr/>
        <a:lstStyle/>
        <a:p>
          <a:r>
            <a:rPr lang="de-DE" dirty="0">
              <a:solidFill>
                <a:schemeClr val="bg2"/>
              </a:solidFill>
            </a:rPr>
            <a:t>Anfänger</a:t>
          </a:r>
        </a:p>
      </dgm:t>
    </dgm:pt>
    <dgm:pt modelId="{259C820D-050F-4923-AB18-7225D580A786}" type="parTrans" cxnId="{065DA1A4-3034-48DB-A389-891929538542}">
      <dgm:prSet/>
      <dgm:spPr/>
      <dgm:t>
        <a:bodyPr/>
        <a:lstStyle/>
        <a:p>
          <a:endParaRPr lang="de-DE"/>
        </a:p>
      </dgm:t>
    </dgm:pt>
    <dgm:pt modelId="{4DE355CA-54C8-4FE6-A3C3-58DD312B4C49}" type="sibTrans" cxnId="{065DA1A4-3034-48DB-A389-891929538542}">
      <dgm:prSet/>
      <dgm:spPr/>
      <dgm:t>
        <a:bodyPr/>
        <a:lstStyle/>
        <a:p>
          <a:endParaRPr lang="de-DE"/>
        </a:p>
      </dgm:t>
    </dgm:pt>
    <dgm:pt modelId="{D0FD31DF-F17E-48D9-9933-4894DCECD2A0}">
      <dgm:prSet phldrT="[Text]"/>
      <dgm:spPr/>
      <dgm:t>
        <a:bodyPr/>
        <a:lstStyle/>
        <a:p>
          <a:r>
            <a:rPr lang="de-DE" dirty="0">
              <a:solidFill>
                <a:schemeClr val="bg2"/>
              </a:solidFill>
            </a:rPr>
            <a:t>Fortgeschrittener Anfänger</a:t>
          </a:r>
        </a:p>
      </dgm:t>
    </dgm:pt>
    <dgm:pt modelId="{2056A0E1-85DA-4F30-8B78-26BF3729C91E}" type="parTrans" cxnId="{733757D1-A30F-4A86-8942-379EA9C9A42C}">
      <dgm:prSet/>
      <dgm:spPr/>
      <dgm:t>
        <a:bodyPr/>
        <a:lstStyle/>
        <a:p>
          <a:endParaRPr lang="de-DE"/>
        </a:p>
      </dgm:t>
    </dgm:pt>
    <dgm:pt modelId="{4A8236D0-712C-4796-B6E0-6B58F4BCE900}" type="sibTrans" cxnId="{733757D1-A30F-4A86-8942-379EA9C9A42C}">
      <dgm:prSet/>
      <dgm:spPr/>
      <dgm:t>
        <a:bodyPr/>
        <a:lstStyle/>
        <a:p>
          <a:endParaRPr lang="de-DE"/>
        </a:p>
      </dgm:t>
    </dgm:pt>
    <dgm:pt modelId="{D4B41878-58A5-47A7-936C-F6B44E5C0519}">
      <dgm:prSet phldrT="[Text]"/>
      <dgm:spPr/>
      <dgm:t>
        <a:bodyPr/>
        <a:lstStyle/>
        <a:p>
          <a:r>
            <a:rPr lang="de-DE" dirty="0">
              <a:solidFill>
                <a:schemeClr val="bg2"/>
              </a:solidFill>
            </a:rPr>
            <a:t>Kompetent Pflegender</a:t>
          </a:r>
        </a:p>
      </dgm:t>
    </dgm:pt>
    <dgm:pt modelId="{E238C2AA-41EC-4C7F-B90A-9D208B8702CE}" type="parTrans" cxnId="{6C8B05B2-2F28-4873-8FA6-362E2CFE9E8D}">
      <dgm:prSet/>
      <dgm:spPr/>
      <dgm:t>
        <a:bodyPr/>
        <a:lstStyle/>
        <a:p>
          <a:endParaRPr lang="de-DE"/>
        </a:p>
      </dgm:t>
    </dgm:pt>
    <dgm:pt modelId="{3F8042F8-9EA3-44C3-AE3D-C1C43D466D0E}" type="sibTrans" cxnId="{6C8B05B2-2F28-4873-8FA6-362E2CFE9E8D}">
      <dgm:prSet/>
      <dgm:spPr/>
      <dgm:t>
        <a:bodyPr/>
        <a:lstStyle/>
        <a:p>
          <a:endParaRPr lang="de-DE"/>
        </a:p>
      </dgm:t>
    </dgm:pt>
    <dgm:pt modelId="{E886F94A-BD09-4843-92AC-BC45ABB3211D}">
      <dgm:prSet phldrT="[Text]"/>
      <dgm:spPr/>
      <dgm:t>
        <a:bodyPr/>
        <a:lstStyle/>
        <a:p>
          <a:r>
            <a:rPr lang="de-DE" dirty="0">
              <a:solidFill>
                <a:schemeClr val="bg2"/>
              </a:solidFill>
            </a:rPr>
            <a:t>Erfahrener Pflegender</a:t>
          </a:r>
        </a:p>
      </dgm:t>
    </dgm:pt>
    <dgm:pt modelId="{07727214-E1D3-44E7-A69C-E79DFCBEFF6B}" type="parTrans" cxnId="{8BA741C8-2F0D-4DB8-8742-18F1EBAB3457}">
      <dgm:prSet/>
      <dgm:spPr/>
      <dgm:t>
        <a:bodyPr/>
        <a:lstStyle/>
        <a:p>
          <a:endParaRPr lang="de-DE"/>
        </a:p>
      </dgm:t>
    </dgm:pt>
    <dgm:pt modelId="{DF7244D7-4B02-4FA5-AEA9-C1782109BE4B}" type="sibTrans" cxnId="{8BA741C8-2F0D-4DB8-8742-18F1EBAB3457}">
      <dgm:prSet/>
      <dgm:spPr/>
      <dgm:t>
        <a:bodyPr/>
        <a:lstStyle/>
        <a:p>
          <a:endParaRPr lang="de-DE"/>
        </a:p>
      </dgm:t>
    </dgm:pt>
    <dgm:pt modelId="{244E1097-BE62-4129-9C21-242CF324FEEE}">
      <dgm:prSet phldrT="[Text]"/>
      <dgm:spPr/>
      <dgm:t>
        <a:bodyPr/>
        <a:lstStyle/>
        <a:p>
          <a:r>
            <a:rPr lang="de-DE" dirty="0">
              <a:solidFill>
                <a:schemeClr val="bg2"/>
              </a:solidFill>
            </a:rPr>
            <a:t>Pflegeexperte</a:t>
          </a:r>
        </a:p>
      </dgm:t>
    </dgm:pt>
    <dgm:pt modelId="{03A2F4B5-91A3-4664-8A8A-E01DE594C286}" type="parTrans" cxnId="{EDC6EC4E-8EAD-419B-885D-3070A4E071D3}">
      <dgm:prSet/>
      <dgm:spPr/>
      <dgm:t>
        <a:bodyPr/>
        <a:lstStyle/>
        <a:p>
          <a:endParaRPr lang="de-DE"/>
        </a:p>
      </dgm:t>
    </dgm:pt>
    <dgm:pt modelId="{BCE08F10-0180-4450-AF6D-243C33A8B731}" type="sibTrans" cxnId="{EDC6EC4E-8EAD-419B-885D-3070A4E071D3}">
      <dgm:prSet/>
      <dgm:spPr/>
      <dgm:t>
        <a:bodyPr/>
        <a:lstStyle/>
        <a:p>
          <a:endParaRPr lang="de-DE"/>
        </a:p>
      </dgm:t>
    </dgm:pt>
    <dgm:pt modelId="{B6821AF0-1469-4BEC-86B1-9FBE0C305181}" type="pres">
      <dgm:prSet presAssocID="{341BF85D-3A0A-48D4-AC04-F617F805D6F7}" presName="rootnode" presStyleCnt="0">
        <dgm:presLayoutVars>
          <dgm:chMax/>
          <dgm:chPref/>
          <dgm:dir/>
          <dgm:animLvl val="lvl"/>
        </dgm:presLayoutVars>
      </dgm:prSet>
      <dgm:spPr/>
    </dgm:pt>
    <dgm:pt modelId="{AC6B00F2-F9B4-4ADF-9914-85300E59499B}" type="pres">
      <dgm:prSet presAssocID="{FF004DF6-9C9C-47A2-8842-C2A6E28592D6}" presName="composite" presStyleCnt="0"/>
      <dgm:spPr/>
    </dgm:pt>
    <dgm:pt modelId="{B7F781B7-93D8-4014-B194-56CA5549CD57}" type="pres">
      <dgm:prSet presAssocID="{FF004DF6-9C9C-47A2-8842-C2A6E28592D6}" presName="LShape" presStyleLbl="alignNode1" presStyleIdx="0" presStyleCnt="9"/>
      <dgm:spPr/>
    </dgm:pt>
    <dgm:pt modelId="{DCDC79E5-52CD-4A3C-B843-24EDD52DA279}" type="pres">
      <dgm:prSet presAssocID="{FF004DF6-9C9C-47A2-8842-C2A6E28592D6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8101D0EB-6349-45B0-9D46-A0533426FF7F}" type="pres">
      <dgm:prSet presAssocID="{FF004DF6-9C9C-47A2-8842-C2A6E28592D6}" presName="Triangle" presStyleLbl="alignNode1" presStyleIdx="1" presStyleCnt="9"/>
      <dgm:spPr/>
    </dgm:pt>
    <dgm:pt modelId="{409803AF-C9E5-4B39-A979-5A9F54081CBB}" type="pres">
      <dgm:prSet presAssocID="{4DE355CA-54C8-4FE6-A3C3-58DD312B4C49}" presName="sibTrans" presStyleCnt="0"/>
      <dgm:spPr/>
    </dgm:pt>
    <dgm:pt modelId="{E0DA216C-3C22-4171-BBC1-607CFB1ED92D}" type="pres">
      <dgm:prSet presAssocID="{4DE355CA-54C8-4FE6-A3C3-58DD312B4C49}" presName="space" presStyleCnt="0"/>
      <dgm:spPr/>
    </dgm:pt>
    <dgm:pt modelId="{F3D6B3E7-C61A-4E6D-9AE6-0593EC5A8D45}" type="pres">
      <dgm:prSet presAssocID="{D0FD31DF-F17E-48D9-9933-4894DCECD2A0}" presName="composite" presStyleCnt="0"/>
      <dgm:spPr/>
    </dgm:pt>
    <dgm:pt modelId="{E5AF5CF2-B4C9-4B69-A069-6C28A407F2AA}" type="pres">
      <dgm:prSet presAssocID="{D0FD31DF-F17E-48D9-9933-4894DCECD2A0}" presName="LShape" presStyleLbl="alignNode1" presStyleIdx="2" presStyleCnt="9"/>
      <dgm:spPr/>
    </dgm:pt>
    <dgm:pt modelId="{110DDB13-D7EC-4357-A30A-01737DEDD158}" type="pres">
      <dgm:prSet presAssocID="{D0FD31DF-F17E-48D9-9933-4894DCECD2A0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55E77BF2-B3C3-45C8-81E7-58DA03A285F5}" type="pres">
      <dgm:prSet presAssocID="{D0FD31DF-F17E-48D9-9933-4894DCECD2A0}" presName="Triangle" presStyleLbl="alignNode1" presStyleIdx="3" presStyleCnt="9"/>
      <dgm:spPr/>
    </dgm:pt>
    <dgm:pt modelId="{2D4108C7-114F-4CE0-96A6-04F8514659A6}" type="pres">
      <dgm:prSet presAssocID="{4A8236D0-712C-4796-B6E0-6B58F4BCE900}" presName="sibTrans" presStyleCnt="0"/>
      <dgm:spPr/>
    </dgm:pt>
    <dgm:pt modelId="{462619C8-FF45-424B-8BFD-07E0D95ACBAF}" type="pres">
      <dgm:prSet presAssocID="{4A8236D0-712C-4796-B6E0-6B58F4BCE900}" presName="space" presStyleCnt="0"/>
      <dgm:spPr/>
    </dgm:pt>
    <dgm:pt modelId="{83B535E4-5379-4D35-8206-91CFE1E73201}" type="pres">
      <dgm:prSet presAssocID="{D4B41878-58A5-47A7-936C-F6B44E5C0519}" presName="composite" presStyleCnt="0"/>
      <dgm:spPr/>
    </dgm:pt>
    <dgm:pt modelId="{D3EDCBDE-0E9C-44A2-98E7-EBA9C531E515}" type="pres">
      <dgm:prSet presAssocID="{D4B41878-58A5-47A7-936C-F6B44E5C0519}" presName="LShape" presStyleLbl="alignNode1" presStyleIdx="4" presStyleCnt="9"/>
      <dgm:spPr/>
    </dgm:pt>
    <dgm:pt modelId="{A3125DF7-4948-4BAB-BF5A-B5E2917FEE2B}" type="pres">
      <dgm:prSet presAssocID="{D4B41878-58A5-47A7-936C-F6B44E5C0519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82FA7DD1-E555-4DDD-945D-17F95F27B18F}" type="pres">
      <dgm:prSet presAssocID="{D4B41878-58A5-47A7-936C-F6B44E5C0519}" presName="Triangle" presStyleLbl="alignNode1" presStyleIdx="5" presStyleCnt="9"/>
      <dgm:spPr/>
    </dgm:pt>
    <dgm:pt modelId="{35DCA56E-CD0F-46EB-B34A-A09FC511283B}" type="pres">
      <dgm:prSet presAssocID="{3F8042F8-9EA3-44C3-AE3D-C1C43D466D0E}" presName="sibTrans" presStyleCnt="0"/>
      <dgm:spPr/>
    </dgm:pt>
    <dgm:pt modelId="{71D0B503-02A2-48F3-A1F9-FEC2D50A19B6}" type="pres">
      <dgm:prSet presAssocID="{3F8042F8-9EA3-44C3-AE3D-C1C43D466D0E}" presName="space" presStyleCnt="0"/>
      <dgm:spPr/>
    </dgm:pt>
    <dgm:pt modelId="{0D067E0F-EAC2-4978-B236-F1791981A82C}" type="pres">
      <dgm:prSet presAssocID="{E886F94A-BD09-4843-92AC-BC45ABB3211D}" presName="composite" presStyleCnt="0"/>
      <dgm:spPr/>
    </dgm:pt>
    <dgm:pt modelId="{1656856F-043E-4B70-9C15-EFEF42FF36E9}" type="pres">
      <dgm:prSet presAssocID="{E886F94A-BD09-4843-92AC-BC45ABB3211D}" presName="LShape" presStyleLbl="alignNode1" presStyleIdx="6" presStyleCnt="9"/>
      <dgm:spPr/>
    </dgm:pt>
    <dgm:pt modelId="{DBB0349A-9669-4E86-8D25-A95262A5E6E7}" type="pres">
      <dgm:prSet presAssocID="{E886F94A-BD09-4843-92AC-BC45ABB3211D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E78A156A-50C2-4C39-B074-5937A07F0C50}" type="pres">
      <dgm:prSet presAssocID="{E886F94A-BD09-4843-92AC-BC45ABB3211D}" presName="Triangle" presStyleLbl="alignNode1" presStyleIdx="7" presStyleCnt="9"/>
      <dgm:spPr/>
    </dgm:pt>
    <dgm:pt modelId="{A5945E01-9E8B-4A9F-B67A-78E312EFBF50}" type="pres">
      <dgm:prSet presAssocID="{DF7244D7-4B02-4FA5-AEA9-C1782109BE4B}" presName="sibTrans" presStyleCnt="0"/>
      <dgm:spPr/>
    </dgm:pt>
    <dgm:pt modelId="{41BB9253-AFE2-46ED-B0E3-A0EE0EB5ED80}" type="pres">
      <dgm:prSet presAssocID="{DF7244D7-4B02-4FA5-AEA9-C1782109BE4B}" presName="space" presStyleCnt="0"/>
      <dgm:spPr/>
    </dgm:pt>
    <dgm:pt modelId="{A5B756AE-6252-46EB-AE58-C537CC718FC0}" type="pres">
      <dgm:prSet presAssocID="{244E1097-BE62-4129-9C21-242CF324FEEE}" presName="composite" presStyleCnt="0"/>
      <dgm:spPr/>
    </dgm:pt>
    <dgm:pt modelId="{FC61F493-234D-40CB-A717-43E47652CD4F}" type="pres">
      <dgm:prSet presAssocID="{244E1097-BE62-4129-9C21-242CF324FEEE}" presName="LShape" presStyleLbl="alignNode1" presStyleIdx="8" presStyleCnt="9"/>
      <dgm:spPr/>
    </dgm:pt>
    <dgm:pt modelId="{C8A49ED2-7C66-42C2-8457-00E571E78628}" type="pres">
      <dgm:prSet presAssocID="{244E1097-BE62-4129-9C21-242CF324FEEE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B62D321A-BC4E-4C43-AFA1-35A465A5382C}" type="presOf" srcId="{E886F94A-BD09-4843-92AC-BC45ABB3211D}" destId="{DBB0349A-9669-4E86-8D25-A95262A5E6E7}" srcOrd="0" destOrd="0" presId="urn:microsoft.com/office/officeart/2009/3/layout/StepUpProcess"/>
    <dgm:cxn modelId="{D9109D48-2E77-49BE-A400-88BBD7FBB52B}" type="presOf" srcId="{244E1097-BE62-4129-9C21-242CF324FEEE}" destId="{C8A49ED2-7C66-42C2-8457-00E571E78628}" srcOrd="0" destOrd="0" presId="urn:microsoft.com/office/officeart/2009/3/layout/StepUpProcess"/>
    <dgm:cxn modelId="{EDC6EC4E-8EAD-419B-885D-3070A4E071D3}" srcId="{341BF85D-3A0A-48D4-AC04-F617F805D6F7}" destId="{244E1097-BE62-4129-9C21-242CF324FEEE}" srcOrd="4" destOrd="0" parTransId="{03A2F4B5-91A3-4664-8A8A-E01DE594C286}" sibTransId="{BCE08F10-0180-4450-AF6D-243C33A8B731}"/>
    <dgm:cxn modelId="{065DA1A4-3034-48DB-A389-891929538542}" srcId="{341BF85D-3A0A-48D4-AC04-F617F805D6F7}" destId="{FF004DF6-9C9C-47A2-8842-C2A6E28592D6}" srcOrd="0" destOrd="0" parTransId="{259C820D-050F-4923-AB18-7225D580A786}" sibTransId="{4DE355CA-54C8-4FE6-A3C3-58DD312B4C49}"/>
    <dgm:cxn modelId="{F1966AA8-DD1F-4F01-885D-7EE5B363CA81}" type="presOf" srcId="{FF004DF6-9C9C-47A2-8842-C2A6E28592D6}" destId="{DCDC79E5-52CD-4A3C-B843-24EDD52DA279}" srcOrd="0" destOrd="0" presId="urn:microsoft.com/office/officeart/2009/3/layout/StepUpProcess"/>
    <dgm:cxn modelId="{666FBAAB-5B38-4FE9-9900-95A84621C1AF}" type="presOf" srcId="{341BF85D-3A0A-48D4-AC04-F617F805D6F7}" destId="{B6821AF0-1469-4BEC-86B1-9FBE0C305181}" srcOrd="0" destOrd="0" presId="urn:microsoft.com/office/officeart/2009/3/layout/StepUpProcess"/>
    <dgm:cxn modelId="{6C8B05B2-2F28-4873-8FA6-362E2CFE9E8D}" srcId="{341BF85D-3A0A-48D4-AC04-F617F805D6F7}" destId="{D4B41878-58A5-47A7-936C-F6B44E5C0519}" srcOrd="2" destOrd="0" parTransId="{E238C2AA-41EC-4C7F-B90A-9D208B8702CE}" sibTransId="{3F8042F8-9EA3-44C3-AE3D-C1C43D466D0E}"/>
    <dgm:cxn modelId="{359E37B5-9C72-4290-8541-791AE62545D6}" type="presOf" srcId="{D4B41878-58A5-47A7-936C-F6B44E5C0519}" destId="{A3125DF7-4948-4BAB-BF5A-B5E2917FEE2B}" srcOrd="0" destOrd="0" presId="urn:microsoft.com/office/officeart/2009/3/layout/StepUpProcess"/>
    <dgm:cxn modelId="{8BA741C8-2F0D-4DB8-8742-18F1EBAB3457}" srcId="{341BF85D-3A0A-48D4-AC04-F617F805D6F7}" destId="{E886F94A-BD09-4843-92AC-BC45ABB3211D}" srcOrd="3" destOrd="0" parTransId="{07727214-E1D3-44E7-A69C-E79DFCBEFF6B}" sibTransId="{DF7244D7-4B02-4FA5-AEA9-C1782109BE4B}"/>
    <dgm:cxn modelId="{733757D1-A30F-4A86-8942-379EA9C9A42C}" srcId="{341BF85D-3A0A-48D4-AC04-F617F805D6F7}" destId="{D0FD31DF-F17E-48D9-9933-4894DCECD2A0}" srcOrd="1" destOrd="0" parTransId="{2056A0E1-85DA-4F30-8B78-26BF3729C91E}" sibTransId="{4A8236D0-712C-4796-B6E0-6B58F4BCE900}"/>
    <dgm:cxn modelId="{C524C2D2-3B72-4AB6-8B6D-67A90AEC2C9B}" type="presOf" srcId="{D0FD31DF-F17E-48D9-9933-4894DCECD2A0}" destId="{110DDB13-D7EC-4357-A30A-01737DEDD158}" srcOrd="0" destOrd="0" presId="urn:microsoft.com/office/officeart/2009/3/layout/StepUpProcess"/>
    <dgm:cxn modelId="{59EA720E-95AD-473E-BF17-771FA212D67A}" type="presParOf" srcId="{B6821AF0-1469-4BEC-86B1-9FBE0C305181}" destId="{AC6B00F2-F9B4-4ADF-9914-85300E59499B}" srcOrd="0" destOrd="0" presId="urn:microsoft.com/office/officeart/2009/3/layout/StepUpProcess"/>
    <dgm:cxn modelId="{ABDD9873-9434-4807-96FF-BBD96B4AC413}" type="presParOf" srcId="{AC6B00F2-F9B4-4ADF-9914-85300E59499B}" destId="{B7F781B7-93D8-4014-B194-56CA5549CD57}" srcOrd="0" destOrd="0" presId="urn:microsoft.com/office/officeart/2009/3/layout/StepUpProcess"/>
    <dgm:cxn modelId="{2BBA8539-94A3-48A4-92D2-4CEE1A24425F}" type="presParOf" srcId="{AC6B00F2-F9B4-4ADF-9914-85300E59499B}" destId="{DCDC79E5-52CD-4A3C-B843-24EDD52DA279}" srcOrd="1" destOrd="0" presId="urn:microsoft.com/office/officeart/2009/3/layout/StepUpProcess"/>
    <dgm:cxn modelId="{6B91CEC5-F105-48BF-85F3-183194A7D35D}" type="presParOf" srcId="{AC6B00F2-F9B4-4ADF-9914-85300E59499B}" destId="{8101D0EB-6349-45B0-9D46-A0533426FF7F}" srcOrd="2" destOrd="0" presId="urn:microsoft.com/office/officeart/2009/3/layout/StepUpProcess"/>
    <dgm:cxn modelId="{7DCFB6B7-CA9A-4027-94D2-05C9EC7AA8B9}" type="presParOf" srcId="{B6821AF0-1469-4BEC-86B1-9FBE0C305181}" destId="{409803AF-C9E5-4B39-A979-5A9F54081CBB}" srcOrd="1" destOrd="0" presId="urn:microsoft.com/office/officeart/2009/3/layout/StepUpProcess"/>
    <dgm:cxn modelId="{18244655-3C21-48FC-9541-8E8B5D30002A}" type="presParOf" srcId="{409803AF-C9E5-4B39-A979-5A9F54081CBB}" destId="{E0DA216C-3C22-4171-BBC1-607CFB1ED92D}" srcOrd="0" destOrd="0" presId="urn:microsoft.com/office/officeart/2009/3/layout/StepUpProcess"/>
    <dgm:cxn modelId="{3447519F-6BC6-440B-BA1C-C87503483746}" type="presParOf" srcId="{B6821AF0-1469-4BEC-86B1-9FBE0C305181}" destId="{F3D6B3E7-C61A-4E6D-9AE6-0593EC5A8D45}" srcOrd="2" destOrd="0" presId="urn:microsoft.com/office/officeart/2009/3/layout/StepUpProcess"/>
    <dgm:cxn modelId="{B3005E57-7F82-47D4-937A-4C9FB84AC6BD}" type="presParOf" srcId="{F3D6B3E7-C61A-4E6D-9AE6-0593EC5A8D45}" destId="{E5AF5CF2-B4C9-4B69-A069-6C28A407F2AA}" srcOrd="0" destOrd="0" presId="urn:microsoft.com/office/officeart/2009/3/layout/StepUpProcess"/>
    <dgm:cxn modelId="{885830BC-9276-42BD-B1EF-A0C772397C9F}" type="presParOf" srcId="{F3D6B3E7-C61A-4E6D-9AE6-0593EC5A8D45}" destId="{110DDB13-D7EC-4357-A30A-01737DEDD158}" srcOrd="1" destOrd="0" presId="urn:microsoft.com/office/officeart/2009/3/layout/StepUpProcess"/>
    <dgm:cxn modelId="{E89CF7F3-9BB3-4CEE-9E91-148B173F9231}" type="presParOf" srcId="{F3D6B3E7-C61A-4E6D-9AE6-0593EC5A8D45}" destId="{55E77BF2-B3C3-45C8-81E7-58DA03A285F5}" srcOrd="2" destOrd="0" presId="urn:microsoft.com/office/officeart/2009/3/layout/StepUpProcess"/>
    <dgm:cxn modelId="{3BFF6118-C9AD-4A0F-B9C9-FC5AF2E07D5B}" type="presParOf" srcId="{B6821AF0-1469-4BEC-86B1-9FBE0C305181}" destId="{2D4108C7-114F-4CE0-96A6-04F8514659A6}" srcOrd="3" destOrd="0" presId="urn:microsoft.com/office/officeart/2009/3/layout/StepUpProcess"/>
    <dgm:cxn modelId="{88C4A8DB-8314-43C0-8CCE-3955E1E2DD59}" type="presParOf" srcId="{2D4108C7-114F-4CE0-96A6-04F8514659A6}" destId="{462619C8-FF45-424B-8BFD-07E0D95ACBAF}" srcOrd="0" destOrd="0" presId="urn:microsoft.com/office/officeart/2009/3/layout/StepUpProcess"/>
    <dgm:cxn modelId="{9A548E8A-793C-48AF-9714-670D80B5243B}" type="presParOf" srcId="{B6821AF0-1469-4BEC-86B1-9FBE0C305181}" destId="{83B535E4-5379-4D35-8206-91CFE1E73201}" srcOrd="4" destOrd="0" presId="urn:microsoft.com/office/officeart/2009/3/layout/StepUpProcess"/>
    <dgm:cxn modelId="{CF9BFC7D-9E14-4445-81DC-1B957736217A}" type="presParOf" srcId="{83B535E4-5379-4D35-8206-91CFE1E73201}" destId="{D3EDCBDE-0E9C-44A2-98E7-EBA9C531E515}" srcOrd="0" destOrd="0" presId="urn:microsoft.com/office/officeart/2009/3/layout/StepUpProcess"/>
    <dgm:cxn modelId="{F0275C45-904D-40FB-A07F-71EBB3637362}" type="presParOf" srcId="{83B535E4-5379-4D35-8206-91CFE1E73201}" destId="{A3125DF7-4948-4BAB-BF5A-B5E2917FEE2B}" srcOrd="1" destOrd="0" presId="urn:microsoft.com/office/officeart/2009/3/layout/StepUpProcess"/>
    <dgm:cxn modelId="{140E056D-EC65-4CB8-9EB5-7CCA4B2F2289}" type="presParOf" srcId="{83B535E4-5379-4D35-8206-91CFE1E73201}" destId="{82FA7DD1-E555-4DDD-945D-17F95F27B18F}" srcOrd="2" destOrd="0" presId="urn:microsoft.com/office/officeart/2009/3/layout/StepUpProcess"/>
    <dgm:cxn modelId="{8CE5F793-EC0B-46AF-84A8-5BB35C87E55B}" type="presParOf" srcId="{B6821AF0-1469-4BEC-86B1-9FBE0C305181}" destId="{35DCA56E-CD0F-46EB-B34A-A09FC511283B}" srcOrd="5" destOrd="0" presId="urn:microsoft.com/office/officeart/2009/3/layout/StepUpProcess"/>
    <dgm:cxn modelId="{A9E10183-07F5-4635-88D0-3C6E8612D255}" type="presParOf" srcId="{35DCA56E-CD0F-46EB-B34A-A09FC511283B}" destId="{71D0B503-02A2-48F3-A1F9-FEC2D50A19B6}" srcOrd="0" destOrd="0" presId="urn:microsoft.com/office/officeart/2009/3/layout/StepUpProcess"/>
    <dgm:cxn modelId="{DEE382B1-2490-42B6-A914-E2C1F36E7364}" type="presParOf" srcId="{B6821AF0-1469-4BEC-86B1-9FBE0C305181}" destId="{0D067E0F-EAC2-4978-B236-F1791981A82C}" srcOrd="6" destOrd="0" presId="urn:microsoft.com/office/officeart/2009/3/layout/StepUpProcess"/>
    <dgm:cxn modelId="{8C3A9F7F-D542-400C-AFB7-45C984C15BD2}" type="presParOf" srcId="{0D067E0F-EAC2-4978-B236-F1791981A82C}" destId="{1656856F-043E-4B70-9C15-EFEF42FF36E9}" srcOrd="0" destOrd="0" presId="urn:microsoft.com/office/officeart/2009/3/layout/StepUpProcess"/>
    <dgm:cxn modelId="{B980B974-D262-4AFF-9BA5-761C23FCAAEF}" type="presParOf" srcId="{0D067E0F-EAC2-4978-B236-F1791981A82C}" destId="{DBB0349A-9669-4E86-8D25-A95262A5E6E7}" srcOrd="1" destOrd="0" presId="urn:microsoft.com/office/officeart/2009/3/layout/StepUpProcess"/>
    <dgm:cxn modelId="{D52FF2DD-3987-4368-878E-8D91F3092AE4}" type="presParOf" srcId="{0D067E0F-EAC2-4978-B236-F1791981A82C}" destId="{E78A156A-50C2-4C39-B074-5937A07F0C50}" srcOrd="2" destOrd="0" presId="urn:microsoft.com/office/officeart/2009/3/layout/StepUpProcess"/>
    <dgm:cxn modelId="{B5499058-28DC-45B1-BD2A-A27C336B22A1}" type="presParOf" srcId="{B6821AF0-1469-4BEC-86B1-9FBE0C305181}" destId="{A5945E01-9E8B-4A9F-B67A-78E312EFBF50}" srcOrd="7" destOrd="0" presId="urn:microsoft.com/office/officeart/2009/3/layout/StepUpProcess"/>
    <dgm:cxn modelId="{D99F25F3-7070-4711-8C2D-904219CF6C5C}" type="presParOf" srcId="{A5945E01-9E8B-4A9F-B67A-78E312EFBF50}" destId="{41BB9253-AFE2-46ED-B0E3-A0EE0EB5ED80}" srcOrd="0" destOrd="0" presId="urn:microsoft.com/office/officeart/2009/3/layout/StepUpProcess"/>
    <dgm:cxn modelId="{CFE207E4-DE0D-48C4-B018-E1DF36AB46F0}" type="presParOf" srcId="{B6821AF0-1469-4BEC-86B1-9FBE0C305181}" destId="{A5B756AE-6252-46EB-AE58-C537CC718FC0}" srcOrd="8" destOrd="0" presId="urn:microsoft.com/office/officeart/2009/3/layout/StepUpProcess"/>
    <dgm:cxn modelId="{5FAF4242-99A8-4937-88DD-47B1CFD0439B}" type="presParOf" srcId="{A5B756AE-6252-46EB-AE58-C537CC718FC0}" destId="{FC61F493-234D-40CB-A717-43E47652CD4F}" srcOrd="0" destOrd="0" presId="urn:microsoft.com/office/officeart/2009/3/layout/StepUpProcess"/>
    <dgm:cxn modelId="{F8609C93-4376-4819-B821-5ABD6046D8E4}" type="presParOf" srcId="{A5B756AE-6252-46EB-AE58-C537CC718FC0}" destId="{C8A49ED2-7C66-42C2-8457-00E571E78628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A80D537-2A36-4086-9206-B578F80D52A1}" type="doc">
      <dgm:prSet loTypeId="urn:microsoft.com/office/officeart/2005/8/layout/cycle7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77229256-DC5B-4B50-9D1B-6697A911CFF9}">
      <dgm:prSet phldrT="[Text]" custT="1"/>
      <dgm:spPr/>
      <dgm:t>
        <a:bodyPr/>
        <a:lstStyle/>
        <a:p>
          <a:r>
            <a:rPr lang="de-DE" sz="2000" b="1" dirty="0">
              <a:solidFill>
                <a:schemeClr val="tx1"/>
              </a:solidFill>
            </a:rPr>
            <a:t>Lernort Schule</a:t>
          </a:r>
        </a:p>
      </dgm:t>
    </dgm:pt>
    <dgm:pt modelId="{D8503246-E0A1-47E3-9E8F-CA0B3CB0D5DC}" type="parTrans" cxnId="{ED0BA2AD-5E93-4EF5-9609-C7BCE9A23344}">
      <dgm:prSet/>
      <dgm:spPr/>
      <dgm:t>
        <a:bodyPr/>
        <a:lstStyle/>
        <a:p>
          <a:endParaRPr lang="de-DE"/>
        </a:p>
      </dgm:t>
    </dgm:pt>
    <dgm:pt modelId="{50993B0B-EC7F-42D9-9C28-C28143D97F8E}" type="sibTrans" cxnId="{ED0BA2AD-5E93-4EF5-9609-C7BCE9A23344}">
      <dgm:prSet/>
      <dgm:spPr/>
      <dgm:t>
        <a:bodyPr/>
        <a:lstStyle/>
        <a:p>
          <a:endParaRPr lang="de-DE"/>
        </a:p>
      </dgm:t>
    </dgm:pt>
    <dgm:pt modelId="{E48D42C4-E9BF-46F3-AFD6-A1D1F55377D6}">
      <dgm:prSet phldrT="[Text]" custT="1"/>
      <dgm:spPr/>
      <dgm:t>
        <a:bodyPr/>
        <a:lstStyle/>
        <a:p>
          <a:r>
            <a:rPr lang="de-DE" sz="2000" b="1" dirty="0">
              <a:solidFill>
                <a:schemeClr val="tx1"/>
              </a:solidFill>
            </a:rPr>
            <a:t>Dritter Lernort</a:t>
          </a:r>
        </a:p>
      </dgm:t>
    </dgm:pt>
    <dgm:pt modelId="{A262F735-4029-481B-8295-E369D218CBCE}" type="parTrans" cxnId="{BE114CFE-23B6-4B92-ABE1-B61A0E5B59E5}">
      <dgm:prSet/>
      <dgm:spPr/>
      <dgm:t>
        <a:bodyPr/>
        <a:lstStyle/>
        <a:p>
          <a:endParaRPr lang="de-DE"/>
        </a:p>
      </dgm:t>
    </dgm:pt>
    <dgm:pt modelId="{64A4D656-C737-43FA-96A3-EEA378778C38}" type="sibTrans" cxnId="{BE114CFE-23B6-4B92-ABE1-B61A0E5B59E5}">
      <dgm:prSet/>
      <dgm:spPr/>
      <dgm:t>
        <a:bodyPr/>
        <a:lstStyle/>
        <a:p>
          <a:endParaRPr lang="de-DE"/>
        </a:p>
      </dgm:t>
    </dgm:pt>
    <dgm:pt modelId="{33E7BB4E-5A70-4F0F-8685-072F7149D4C1}">
      <dgm:prSet phldrT="[Text]" custT="1"/>
      <dgm:spPr/>
      <dgm:t>
        <a:bodyPr/>
        <a:lstStyle/>
        <a:p>
          <a:r>
            <a:rPr lang="de-DE" sz="2000" b="1" dirty="0">
              <a:solidFill>
                <a:schemeClr val="tx1"/>
              </a:solidFill>
            </a:rPr>
            <a:t>Lernort Praxis</a:t>
          </a:r>
        </a:p>
      </dgm:t>
    </dgm:pt>
    <dgm:pt modelId="{4D9EAFF7-03E7-40D0-B07C-4245378995E1}" type="parTrans" cxnId="{63E3B5D0-6866-44DF-8B79-935141F101C4}">
      <dgm:prSet/>
      <dgm:spPr/>
      <dgm:t>
        <a:bodyPr/>
        <a:lstStyle/>
        <a:p>
          <a:endParaRPr lang="de-DE"/>
        </a:p>
      </dgm:t>
    </dgm:pt>
    <dgm:pt modelId="{FB057037-C1D9-437B-8018-25CCA3B4C99C}" type="sibTrans" cxnId="{63E3B5D0-6866-44DF-8B79-935141F101C4}">
      <dgm:prSet/>
      <dgm:spPr/>
      <dgm:t>
        <a:bodyPr/>
        <a:lstStyle/>
        <a:p>
          <a:endParaRPr lang="de-DE"/>
        </a:p>
      </dgm:t>
    </dgm:pt>
    <dgm:pt modelId="{FF67813E-38FD-4ABC-B31F-CDE279AD14B5}" type="pres">
      <dgm:prSet presAssocID="{2A80D537-2A36-4086-9206-B578F80D52A1}" presName="Name0" presStyleCnt="0">
        <dgm:presLayoutVars>
          <dgm:dir/>
          <dgm:resizeHandles val="exact"/>
        </dgm:presLayoutVars>
      </dgm:prSet>
      <dgm:spPr/>
    </dgm:pt>
    <dgm:pt modelId="{80D2CCAD-DFD5-4D14-8A4C-C6F7FB0EF6B3}" type="pres">
      <dgm:prSet presAssocID="{77229256-DC5B-4B50-9D1B-6697A911CFF9}" presName="node" presStyleLbl="node1" presStyleIdx="0" presStyleCnt="3">
        <dgm:presLayoutVars>
          <dgm:bulletEnabled val="1"/>
        </dgm:presLayoutVars>
      </dgm:prSet>
      <dgm:spPr/>
    </dgm:pt>
    <dgm:pt modelId="{908B5BFA-C9D5-4E65-A150-C2419EAF1F0E}" type="pres">
      <dgm:prSet presAssocID="{50993B0B-EC7F-42D9-9C28-C28143D97F8E}" presName="sibTrans" presStyleLbl="sibTrans2D1" presStyleIdx="0" presStyleCnt="3"/>
      <dgm:spPr/>
    </dgm:pt>
    <dgm:pt modelId="{13F8EF02-3F18-4592-BABA-3502EB55CC44}" type="pres">
      <dgm:prSet presAssocID="{50993B0B-EC7F-42D9-9C28-C28143D97F8E}" presName="connectorText" presStyleLbl="sibTrans2D1" presStyleIdx="0" presStyleCnt="3"/>
      <dgm:spPr/>
    </dgm:pt>
    <dgm:pt modelId="{05683032-B906-40CA-9CC9-B22C1590C125}" type="pres">
      <dgm:prSet presAssocID="{E48D42C4-E9BF-46F3-AFD6-A1D1F55377D6}" presName="node" presStyleLbl="node1" presStyleIdx="1" presStyleCnt="3">
        <dgm:presLayoutVars>
          <dgm:bulletEnabled val="1"/>
        </dgm:presLayoutVars>
      </dgm:prSet>
      <dgm:spPr/>
    </dgm:pt>
    <dgm:pt modelId="{40CBEAEC-48CA-478B-9D06-71FB3FF3C8FE}" type="pres">
      <dgm:prSet presAssocID="{64A4D656-C737-43FA-96A3-EEA378778C38}" presName="sibTrans" presStyleLbl="sibTrans2D1" presStyleIdx="1" presStyleCnt="3"/>
      <dgm:spPr/>
    </dgm:pt>
    <dgm:pt modelId="{94410A47-2B09-4553-9091-94A071F8FFF4}" type="pres">
      <dgm:prSet presAssocID="{64A4D656-C737-43FA-96A3-EEA378778C38}" presName="connectorText" presStyleLbl="sibTrans2D1" presStyleIdx="1" presStyleCnt="3"/>
      <dgm:spPr/>
    </dgm:pt>
    <dgm:pt modelId="{8A820A42-892B-41B5-B333-B075D4C5B972}" type="pres">
      <dgm:prSet presAssocID="{33E7BB4E-5A70-4F0F-8685-072F7149D4C1}" presName="node" presStyleLbl="node1" presStyleIdx="2" presStyleCnt="3">
        <dgm:presLayoutVars>
          <dgm:bulletEnabled val="1"/>
        </dgm:presLayoutVars>
      </dgm:prSet>
      <dgm:spPr/>
    </dgm:pt>
    <dgm:pt modelId="{7AD25AD6-3CA3-4459-9E7E-A26983344E23}" type="pres">
      <dgm:prSet presAssocID="{FB057037-C1D9-437B-8018-25CCA3B4C99C}" presName="sibTrans" presStyleLbl="sibTrans2D1" presStyleIdx="2" presStyleCnt="3"/>
      <dgm:spPr/>
    </dgm:pt>
    <dgm:pt modelId="{12FD30A5-9443-4DA2-A499-7E2BEC6A6C68}" type="pres">
      <dgm:prSet presAssocID="{FB057037-C1D9-437B-8018-25CCA3B4C99C}" presName="connectorText" presStyleLbl="sibTrans2D1" presStyleIdx="2" presStyleCnt="3"/>
      <dgm:spPr/>
    </dgm:pt>
  </dgm:ptLst>
  <dgm:cxnLst>
    <dgm:cxn modelId="{19E5BC17-2CE7-4DCA-B61D-2E42FA24F8CB}" type="presOf" srcId="{50993B0B-EC7F-42D9-9C28-C28143D97F8E}" destId="{13F8EF02-3F18-4592-BABA-3502EB55CC44}" srcOrd="1" destOrd="0" presId="urn:microsoft.com/office/officeart/2005/8/layout/cycle7"/>
    <dgm:cxn modelId="{D109F33D-194F-4366-95D9-4FBDBDEC525C}" type="presOf" srcId="{33E7BB4E-5A70-4F0F-8685-072F7149D4C1}" destId="{8A820A42-892B-41B5-B333-B075D4C5B972}" srcOrd="0" destOrd="0" presId="urn:microsoft.com/office/officeart/2005/8/layout/cycle7"/>
    <dgm:cxn modelId="{3D11B771-A033-43E3-9EE2-3B3DFF6B3628}" type="presOf" srcId="{E48D42C4-E9BF-46F3-AFD6-A1D1F55377D6}" destId="{05683032-B906-40CA-9CC9-B22C1590C125}" srcOrd="0" destOrd="0" presId="urn:microsoft.com/office/officeart/2005/8/layout/cycle7"/>
    <dgm:cxn modelId="{BF6F4474-7C49-4F57-84FC-57097AC110EB}" type="presOf" srcId="{77229256-DC5B-4B50-9D1B-6697A911CFF9}" destId="{80D2CCAD-DFD5-4D14-8A4C-C6F7FB0EF6B3}" srcOrd="0" destOrd="0" presId="urn:microsoft.com/office/officeart/2005/8/layout/cycle7"/>
    <dgm:cxn modelId="{3377B77D-7458-4580-9AAE-69460A3B9DF5}" type="presOf" srcId="{64A4D656-C737-43FA-96A3-EEA378778C38}" destId="{40CBEAEC-48CA-478B-9D06-71FB3FF3C8FE}" srcOrd="0" destOrd="0" presId="urn:microsoft.com/office/officeart/2005/8/layout/cycle7"/>
    <dgm:cxn modelId="{DCB5DAA0-0DE2-4898-8FB0-383355D83EB7}" type="presOf" srcId="{50993B0B-EC7F-42D9-9C28-C28143D97F8E}" destId="{908B5BFA-C9D5-4E65-A150-C2419EAF1F0E}" srcOrd="0" destOrd="0" presId="urn:microsoft.com/office/officeart/2005/8/layout/cycle7"/>
    <dgm:cxn modelId="{FE7922A3-263A-4E25-9134-F5E08A983AFA}" type="presOf" srcId="{64A4D656-C737-43FA-96A3-EEA378778C38}" destId="{94410A47-2B09-4553-9091-94A071F8FFF4}" srcOrd="1" destOrd="0" presId="urn:microsoft.com/office/officeart/2005/8/layout/cycle7"/>
    <dgm:cxn modelId="{63C844A4-17F9-4B4F-8EB8-24309C2478FF}" type="presOf" srcId="{2A80D537-2A36-4086-9206-B578F80D52A1}" destId="{FF67813E-38FD-4ABC-B31F-CDE279AD14B5}" srcOrd="0" destOrd="0" presId="urn:microsoft.com/office/officeart/2005/8/layout/cycle7"/>
    <dgm:cxn modelId="{E79C6EAA-BCD4-448A-BE97-282C1A1C5261}" type="presOf" srcId="{FB057037-C1D9-437B-8018-25CCA3B4C99C}" destId="{7AD25AD6-3CA3-4459-9E7E-A26983344E23}" srcOrd="0" destOrd="0" presId="urn:microsoft.com/office/officeart/2005/8/layout/cycle7"/>
    <dgm:cxn modelId="{ED0BA2AD-5E93-4EF5-9609-C7BCE9A23344}" srcId="{2A80D537-2A36-4086-9206-B578F80D52A1}" destId="{77229256-DC5B-4B50-9D1B-6697A911CFF9}" srcOrd="0" destOrd="0" parTransId="{D8503246-E0A1-47E3-9E8F-CA0B3CB0D5DC}" sibTransId="{50993B0B-EC7F-42D9-9C28-C28143D97F8E}"/>
    <dgm:cxn modelId="{787B49C6-024E-4D68-BED2-6E44CE9466A8}" type="presOf" srcId="{FB057037-C1D9-437B-8018-25CCA3B4C99C}" destId="{12FD30A5-9443-4DA2-A499-7E2BEC6A6C68}" srcOrd="1" destOrd="0" presId="urn:microsoft.com/office/officeart/2005/8/layout/cycle7"/>
    <dgm:cxn modelId="{63E3B5D0-6866-44DF-8B79-935141F101C4}" srcId="{2A80D537-2A36-4086-9206-B578F80D52A1}" destId="{33E7BB4E-5A70-4F0F-8685-072F7149D4C1}" srcOrd="2" destOrd="0" parTransId="{4D9EAFF7-03E7-40D0-B07C-4245378995E1}" sibTransId="{FB057037-C1D9-437B-8018-25CCA3B4C99C}"/>
    <dgm:cxn modelId="{BE114CFE-23B6-4B92-ABE1-B61A0E5B59E5}" srcId="{2A80D537-2A36-4086-9206-B578F80D52A1}" destId="{E48D42C4-E9BF-46F3-AFD6-A1D1F55377D6}" srcOrd="1" destOrd="0" parTransId="{A262F735-4029-481B-8295-E369D218CBCE}" sibTransId="{64A4D656-C737-43FA-96A3-EEA378778C38}"/>
    <dgm:cxn modelId="{7F03794F-B20A-4109-97E2-449048E906D8}" type="presParOf" srcId="{FF67813E-38FD-4ABC-B31F-CDE279AD14B5}" destId="{80D2CCAD-DFD5-4D14-8A4C-C6F7FB0EF6B3}" srcOrd="0" destOrd="0" presId="urn:microsoft.com/office/officeart/2005/8/layout/cycle7"/>
    <dgm:cxn modelId="{F9C02F4A-C96A-4C7E-B892-9492D5122E77}" type="presParOf" srcId="{FF67813E-38FD-4ABC-B31F-CDE279AD14B5}" destId="{908B5BFA-C9D5-4E65-A150-C2419EAF1F0E}" srcOrd="1" destOrd="0" presId="urn:microsoft.com/office/officeart/2005/8/layout/cycle7"/>
    <dgm:cxn modelId="{20253A1C-CBD3-4B86-BD14-E5B8632E64D0}" type="presParOf" srcId="{908B5BFA-C9D5-4E65-A150-C2419EAF1F0E}" destId="{13F8EF02-3F18-4592-BABA-3502EB55CC44}" srcOrd="0" destOrd="0" presId="urn:microsoft.com/office/officeart/2005/8/layout/cycle7"/>
    <dgm:cxn modelId="{850CAA54-D7F8-4407-A6CC-7FB05903A54A}" type="presParOf" srcId="{FF67813E-38FD-4ABC-B31F-CDE279AD14B5}" destId="{05683032-B906-40CA-9CC9-B22C1590C125}" srcOrd="2" destOrd="0" presId="urn:microsoft.com/office/officeart/2005/8/layout/cycle7"/>
    <dgm:cxn modelId="{CD6C66A6-ED56-40D7-87BC-C08F98484DF2}" type="presParOf" srcId="{FF67813E-38FD-4ABC-B31F-CDE279AD14B5}" destId="{40CBEAEC-48CA-478B-9D06-71FB3FF3C8FE}" srcOrd="3" destOrd="0" presId="urn:microsoft.com/office/officeart/2005/8/layout/cycle7"/>
    <dgm:cxn modelId="{F422A1FC-2567-46D8-A006-572861FF395E}" type="presParOf" srcId="{40CBEAEC-48CA-478B-9D06-71FB3FF3C8FE}" destId="{94410A47-2B09-4553-9091-94A071F8FFF4}" srcOrd="0" destOrd="0" presId="urn:microsoft.com/office/officeart/2005/8/layout/cycle7"/>
    <dgm:cxn modelId="{9C685130-3E85-45E6-9B9A-74B9EB145DD0}" type="presParOf" srcId="{FF67813E-38FD-4ABC-B31F-CDE279AD14B5}" destId="{8A820A42-892B-41B5-B333-B075D4C5B972}" srcOrd="4" destOrd="0" presId="urn:microsoft.com/office/officeart/2005/8/layout/cycle7"/>
    <dgm:cxn modelId="{4B54567B-0AC1-448D-B626-8B9861578498}" type="presParOf" srcId="{FF67813E-38FD-4ABC-B31F-CDE279AD14B5}" destId="{7AD25AD6-3CA3-4459-9E7E-A26983344E23}" srcOrd="5" destOrd="0" presId="urn:microsoft.com/office/officeart/2005/8/layout/cycle7"/>
    <dgm:cxn modelId="{C7C5925E-CD50-4260-8E26-58A58AA26A1E}" type="presParOf" srcId="{7AD25AD6-3CA3-4459-9E7E-A26983344E23}" destId="{12FD30A5-9443-4DA2-A499-7E2BEC6A6C68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A80D537-2A36-4086-9206-B578F80D52A1}" type="doc">
      <dgm:prSet loTypeId="urn:microsoft.com/office/officeart/2005/8/layout/cycle7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77229256-DC5B-4B50-9D1B-6697A911CFF9}">
      <dgm:prSet phldrT="[Text]" custT="1"/>
      <dgm:spPr/>
      <dgm:t>
        <a:bodyPr/>
        <a:lstStyle/>
        <a:p>
          <a:r>
            <a:rPr lang="de-DE" sz="2000" b="1" dirty="0">
              <a:solidFill>
                <a:schemeClr val="tx1"/>
              </a:solidFill>
            </a:rPr>
            <a:t>Lernort Schule</a:t>
          </a:r>
        </a:p>
      </dgm:t>
    </dgm:pt>
    <dgm:pt modelId="{D8503246-E0A1-47E3-9E8F-CA0B3CB0D5DC}" type="parTrans" cxnId="{ED0BA2AD-5E93-4EF5-9609-C7BCE9A23344}">
      <dgm:prSet/>
      <dgm:spPr/>
      <dgm:t>
        <a:bodyPr/>
        <a:lstStyle/>
        <a:p>
          <a:endParaRPr lang="de-DE"/>
        </a:p>
      </dgm:t>
    </dgm:pt>
    <dgm:pt modelId="{50993B0B-EC7F-42D9-9C28-C28143D97F8E}" type="sibTrans" cxnId="{ED0BA2AD-5E93-4EF5-9609-C7BCE9A23344}">
      <dgm:prSet/>
      <dgm:spPr/>
      <dgm:t>
        <a:bodyPr/>
        <a:lstStyle/>
        <a:p>
          <a:endParaRPr lang="de-DE"/>
        </a:p>
      </dgm:t>
    </dgm:pt>
    <dgm:pt modelId="{E48D42C4-E9BF-46F3-AFD6-A1D1F55377D6}">
      <dgm:prSet phldrT="[Text]" custT="1"/>
      <dgm:spPr/>
      <dgm:t>
        <a:bodyPr/>
        <a:lstStyle/>
        <a:p>
          <a:r>
            <a:rPr lang="de-DE" sz="2000" b="1" dirty="0">
              <a:solidFill>
                <a:schemeClr val="tx1"/>
              </a:solidFill>
            </a:rPr>
            <a:t>Dritter Lernort</a:t>
          </a:r>
        </a:p>
      </dgm:t>
    </dgm:pt>
    <dgm:pt modelId="{A262F735-4029-481B-8295-E369D218CBCE}" type="parTrans" cxnId="{BE114CFE-23B6-4B92-ABE1-B61A0E5B59E5}">
      <dgm:prSet/>
      <dgm:spPr/>
      <dgm:t>
        <a:bodyPr/>
        <a:lstStyle/>
        <a:p>
          <a:endParaRPr lang="de-DE"/>
        </a:p>
      </dgm:t>
    </dgm:pt>
    <dgm:pt modelId="{64A4D656-C737-43FA-96A3-EEA378778C38}" type="sibTrans" cxnId="{BE114CFE-23B6-4B92-ABE1-B61A0E5B59E5}">
      <dgm:prSet/>
      <dgm:spPr/>
      <dgm:t>
        <a:bodyPr/>
        <a:lstStyle/>
        <a:p>
          <a:endParaRPr lang="de-DE"/>
        </a:p>
      </dgm:t>
    </dgm:pt>
    <dgm:pt modelId="{33E7BB4E-5A70-4F0F-8685-072F7149D4C1}">
      <dgm:prSet phldrT="[Text]" custT="1"/>
      <dgm:spPr/>
      <dgm:t>
        <a:bodyPr/>
        <a:lstStyle/>
        <a:p>
          <a:r>
            <a:rPr lang="de-DE" sz="2000" b="1" dirty="0">
              <a:solidFill>
                <a:schemeClr val="tx1"/>
              </a:solidFill>
            </a:rPr>
            <a:t>Lernort Praxis</a:t>
          </a:r>
        </a:p>
      </dgm:t>
    </dgm:pt>
    <dgm:pt modelId="{4D9EAFF7-03E7-40D0-B07C-4245378995E1}" type="parTrans" cxnId="{63E3B5D0-6866-44DF-8B79-935141F101C4}">
      <dgm:prSet/>
      <dgm:spPr/>
      <dgm:t>
        <a:bodyPr/>
        <a:lstStyle/>
        <a:p>
          <a:endParaRPr lang="de-DE"/>
        </a:p>
      </dgm:t>
    </dgm:pt>
    <dgm:pt modelId="{FB057037-C1D9-437B-8018-25CCA3B4C99C}" type="sibTrans" cxnId="{63E3B5D0-6866-44DF-8B79-935141F101C4}">
      <dgm:prSet/>
      <dgm:spPr/>
      <dgm:t>
        <a:bodyPr/>
        <a:lstStyle/>
        <a:p>
          <a:endParaRPr lang="de-DE"/>
        </a:p>
      </dgm:t>
    </dgm:pt>
    <dgm:pt modelId="{FF67813E-38FD-4ABC-B31F-CDE279AD14B5}" type="pres">
      <dgm:prSet presAssocID="{2A80D537-2A36-4086-9206-B578F80D52A1}" presName="Name0" presStyleCnt="0">
        <dgm:presLayoutVars>
          <dgm:dir/>
          <dgm:resizeHandles val="exact"/>
        </dgm:presLayoutVars>
      </dgm:prSet>
      <dgm:spPr/>
    </dgm:pt>
    <dgm:pt modelId="{80D2CCAD-DFD5-4D14-8A4C-C6F7FB0EF6B3}" type="pres">
      <dgm:prSet presAssocID="{77229256-DC5B-4B50-9D1B-6697A911CFF9}" presName="node" presStyleLbl="node1" presStyleIdx="0" presStyleCnt="3">
        <dgm:presLayoutVars>
          <dgm:bulletEnabled val="1"/>
        </dgm:presLayoutVars>
      </dgm:prSet>
      <dgm:spPr/>
    </dgm:pt>
    <dgm:pt modelId="{908B5BFA-C9D5-4E65-A150-C2419EAF1F0E}" type="pres">
      <dgm:prSet presAssocID="{50993B0B-EC7F-42D9-9C28-C28143D97F8E}" presName="sibTrans" presStyleLbl="sibTrans2D1" presStyleIdx="0" presStyleCnt="3"/>
      <dgm:spPr/>
    </dgm:pt>
    <dgm:pt modelId="{13F8EF02-3F18-4592-BABA-3502EB55CC44}" type="pres">
      <dgm:prSet presAssocID="{50993B0B-EC7F-42D9-9C28-C28143D97F8E}" presName="connectorText" presStyleLbl="sibTrans2D1" presStyleIdx="0" presStyleCnt="3"/>
      <dgm:spPr/>
    </dgm:pt>
    <dgm:pt modelId="{05683032-B906-40CA-9CC9-B22C1590C125}" type="pres">
      <dgm:prSet presAssocID="{E48D42C4-E9BF-46F3-AFD6-A1D1F55377D6}" presName="node" presStyleLbl="node1" presStyleIdx="1" presStyleCnt="3">
        <dgm:presLayoutVars>
          <dgm:bulletEnabled val="1"/>
        </dgm:presLayoutVars>
      </dgm:prSet>
      <dgm:spPr/>
    </dgm:pt>
    <dgm:pt modelId="{40CBEAEC-48CA-478B-9D06-71FB3FF3C8FE}" type="pres">
      <dgm:prSet presAssocID="{64A4D656-C737-43FA-96A3-EEA378778C38}" presName="sibTrans" presStyleLbl="sibTrans2D1" presStyleIdx="1" presStyleCnt="3"/>
      <dgm:spPr/>
    </dgm:pt>
    <dgm:pt modelId="{94410A47-2B09-4553-9091-94A071F8FFF4}" type="pres">
      <dgm:prSet presAssocID="{64A4D656-C737-43FA-96A3-EEA378778C38}" presName="connectorText" presStyleLbl="sibTrans2D1" presStyleIdx="1" presStyleCnt="3"/>
      <dgm:spPr/>
    </dgm:pt>
    <dgm:pt modelId="{8A820A42-892B-41B5-B333-B075D4C5B972}" type="pres">
      <dgm:prSet presAssocID="{33E7BB4E-5A70-4F0F-8685-072F7149D4C1}" presName="node" presStyleLbl="node1" presStyleIdx="2" presStyleCnt="3">
        <dgm:presLayoutVars>
          <dgm:bulletEnabled val="1"/>
        </dgm:presLayoutVars>
      </dgm:prSet>
      <dgm:spPr/>
    </dgm:pt>
    <dgm:pt modelId="{7AD25AD6-3CA3-4459-9E7E-A26983344E23}" type="pres">
      <dgm:prSet presAssocID="{FB057037-C1D9-437B-8018-25CCA3B4C99C}" presName="sibTrans" presStyleLbl="sibTrans2D1" presStyleIdx="2" presStyleCnt="3"/>
      <dgm:spPr/>
    </dgm:pt>
    <dgm:pt modelId="{12FD30A5-9443-4DA2-A499-7E2BEC6A6C68}" type="pres">
      <dgm:prSet presAssocID="{FB057037-C1D9-437B-8018-25CCA3B4C99C}" presName="connectorText" presStyleLbl="sibTrans2D1" presStyleIdx="2" presStyleCnt="3"/>
      <dgm:spPr/>
    </dgm:pt>
  </dgm:ptLst>
  <dgm:cxnLst>
    <dgm:cxn modelId="{19E5BC17-2CE7-4DCA-B61D-2E42FA24F8CB}" type="presOf" srcId="{50993B0B-EC7F-42D9-9C28-C28143D97F8E}" destId="{13F8EF02-3F18-4592-BABA-3502EB55CC44}" srcOrd="1" destOrd="0" presId="urn:microsoft.com/office/officeart/2005/8/layout/cycle7"/>
    <dgm:cxn modelId="{D109F33D-194F-4366-95D9-4FBDBDEC525C}" type="presOf" srcId="{33E7BB4E-5A70-4F0F-8685-072F7149D4C1}" destId="{8A820A42-892B-41B5-B333-B075D4C5B972}" srcOrd="0" destOrd="0" presId="urn:microsoft.com/office/officeart/2005/8/layout/cycle7"/>
    <dgm:cxn modelId="{3D11B771-A033-43E3-9EE2-3B3DFF6B3628}" type="presOf" srcId="{E48D42C4-E9BF-46F3-AFD6-A1D1F55377D6}" destId="{05683032-B906-40CA-9CC9-B22C1590C125}" srcOrd="0" destOrd="0" presId="urn:microsoft.com/office/officeart/2005/8/layout/cycle7"/>
    <dgm:cxn modelId="{BF6F4474-7C49-4F57-84FC-57097AC110EB}" type="presOf" srcId="{77229256-DC5B-4B50-9D1B-6697A911CFF9}" destId="{80D2CCAD-DFD5-4D14-8A4C-C6F7FB0EF6B3}" srcOrd="0" destOrd="0" presId="urn:microsoft.com/office/officeart/2005/8/layout/cycle7"/>
    <dgm:cxn modelId="{3377B77D-7458-4580-9AAE-69460A3B9DF5}" type="presOf" srcId="{64A4D656-C737-43FA-96A3-EEA378778C38}" destId="{40CBEAEC-48CA-478B-9D06-71FB3FF3C8FE}" srcOrd="0" destOrd="0" presId="urn:microsoft.com/office/officeart/2005/8/layout/cycle7"/>
    <dgm:cxn modelId="{DCB5DAA0-0DE2-4898-8FB0-383355D83EB7}" type="presOf" srcId="{50993B0B-EC7F-42D9-9C28-C28143D97F8E}" destId="{908B5BFA-C9D5-4E65-A150-C2419EAF1F0E}" srcOrd="0" destOrd="0" presId="urn:microsoft.com/office/officeart/2005/8/layout/cycle7"/>
    <dgm:cxn modelId="{FE7922A3-263A-4E25-9134-F5E08A983AFA}" type="presOf" srcId="{64A4D656-C737-43FA-96A3-EEA378778C38}" destId="{94410A47-2B09-4553-9091-94A071F8FFF4}" srcOrd="1" destOrd="0" presId="urn:microsoft.com/office/officeart/2005/8/layout/cycle7"/>
    <dgm:cxn modelId="{63C844A4-17F9-4B4F-8EB8-24309C2478FF}" type="presOf" srcId="{2A80D537-2A36-4086-9206-B578F80D52A1}" destId="{FF67813E-38FD-4ABC-B31F-CDE279AD14B5}" srcOrd="0" destOrd="0" presId="urn:microsoft.com/office/officeart/2005/8/layout/cycle7"/>
    <dgm:cxn modelId="{E79C6EAA-BCD4-448A-BE97-282C1A1C5261}" type="presOf" srcId="{FB057037-C1D9-437B-8018-25CCA3B4C99C}" destId="{7AD25AD6-3CA3-4459-9E7E-A26983344E23}" srcOrd="0" destOrd="0" presId="urn:microsoft.com/office/officeart/2005/8/layout/cycle7"/>
    <dgm:cxn modelId="{ED0BA2AD-5E93-4EF5-9609-C7BCE9A23344}" srcId="{2A80D537-2A36-4086-9206-B578F80D52A1}" destId="{77229256-DC5B-4B50-9D1B-6697A911CFF9}" srcOrd="0" destOrd="0" parTransId="{D8503246-E0A1-47E3-9E8F-CA0B3CB0D5DC}" sibTransId="{50993B0B-EC7F-42D9-9C28-C28143D97F8E}"/>
    <dgm:cxn modelId="{787B49C6-024E-4D68-BED2-6E44CE9466A8}" type="presOf" srcId="{FB057037-C1D9-437B-8018-25CCA3B4C99C}" destId="{12FD30A5-9443-4DA2-A499-7E2BEC6A6C68}" srcOrd="1" destOrd="0" presId="urn:microsoft.com/office/officeart/2005/8/layout/cycle7"/>
    <dgm:cxn modelId="{63E3B5D0-6866-44DF-8B79-935141F101C4}" srcId="{2A80D537-2A36-4086-9206-B578F80D52A1}" destId="{33E7BB4E-5A70-4F0F-8685-072F7149D4C1}" srcOrd="2" destOrd="0" parTransId="{4D9EAFF7-03E7-40D0-B07C-4245378995E1}" sibTransId="{FB057037-C1D9-437B-8018-25CCA3B4C99C}"/>
    <dgm:cxn modelId="{BE114CFE-23B6-4B92-ABE1-B61A0E5B59E5}" srcId="{2A80D537-2A36-4086-9206-B578F80D52A1}" destId="{E48D42C4-E9BF-46F3-AFD6-A1D1F55377D6}" srcOrd="1" destOrd="0" parTransId="{A262F735-4029-481B-8295-E369D218CBCE}" sibTransId="{64A4D656-C737-43FA-96A3-EEA378778C38}"/>
    <dgm:cxn modelId="{7F03794F-B20A-4109-97E2-449048E906D8}" type="presParOf" srcId="{FF67813E-38FD-4ABC-B31F-CDE279AD14B5}" destId="{80D2CCAD-DFD5-4D14-8A4C-C6F7FB0EF6B3}" srcOrd="0" destOrd="0" presId="urn:microsoft.com/office/officeart/2005/8/layout/cycle7"/>
    <dgm:cxn modelId="{F9C02F4A-C96A-4C7E-B892-9492D5122E77}" type="presParOf" srcId="{FF67813E-38FD-4ABC-B31F-CDE279AD14B5}" destId="{908B5BFA-C9D5-4E65-A150-C2419EAF1F0E}" srcOrd="1" destOrd="0" presId="urn:microsoft.com/office/officeart/2005/8/layout/cycle7"/>
    <dgm:cxn modelId="{20253A1C-CBD3-4B86-BD14-E5B8632E64D0}" type="presParOf" srcId="{908B5BFA-C9D5-4E65-A150-C2419EAF1F0E}" destId="{13F8EF02-3F18-4592-BABA-3502EB55CC44}" srcOrd="0" destOrd="0" presId="urn:microsoft.com/office/officeart/2005/8/layout/cycle7"/>
    <dgm:cxn modelId="{850CAA54-D7F8-4407-A6CC-7FB05903A54A}" type="presParOf" srcId="{FF67813E-38FD-4ABC-B31F-CDE279AD14B5}" destId="{05683032-B906-40CA-9CC9-B22C1590C125}" srcOrd="2" destOrd="0" presId="urn:microsoft.com/office/officeart/2005/8/layout/cycle7"/>
    <dgm:cxn modelId="{CD6C66A6-ED56-40D7-87BC-C08F98484DF2}" type="presParOf" srcId="{FF67813E-38FD-4ABC-B31F-CDE279AD14B5}" destId="{40CBEAEC-48CA-478B-9D06-71FB3FF3C8FE}" srcOrd="3" destOrd="0" presId="urn:microsoft.com/office/officeart/2005/8/layout/cycle7"/>
    <dgm:cxn modelId="{F422A1FC-2567-46D8-A006-572861FF395E}" type="presParOf" srcId="{40CBEAEC-48CA-478B-9D06-71FB3FF3C8FE}" destId="{94410A47-2B09-4553-9091-94A071F8FFF4}" srcOrd="0" destOrd="0" presId="urn:microsoft.com/office/officeart/2005/8/layout/cycle7"/>
    <dgm:cxn modelId="{9C685130-3E85-45E6-9B9A-74B9EB145DD0}" type="presParOf" srcId="{FF67813E-38FD-4ABC-B31F-CDE279AD14B5}" destId="{8A820A42-892B-41B5-B333-B075D4C5B972}" srcOrd="4" destOrd="0" presId="urn:microsoft.com/office/officeart/2005/8/layout/cycle7"/>
    <dgm:cxn modelId="{4B54567B-0AC1-448D-B626-8B9861578498}" type="presParOf" srcId="{FF67813E-38FD-4ABC-B31F-CDE279AD14B5}" destId="{7AD25AD6-3CA3-4459-9E7E-A26983344E23}" srcOrd="5" destOrd="0" presId="urn:microsoft.com/office/officeart/2005/8/layout/cycle7"/>
    <dgm:cxn modelId="{C7C5925E-CD50-4260-8E26-58A58AA26A1E}" type="presParOf" srcId="{7AD25AD6-3CA3-4459-9E7E-A26983344E23}" destId="{12FD30A5-9443-4DA2-A499-7E2BEC6A6C68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60994A5-AA2B-432B-A147-F611CC671791}" type="doc">
      <dgm:prSet loTypeId="urn:microsoft.com/office/officeart/2005/8/layout/process4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E9A1AA43-6E67-4A9F-9A45-59037AEE6747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Kenne die Rahmenbedingungen</a:t>
          </a:r>
        </a:p>
      </dgm:t>
    </dgm:pt>
    <dgm:pt modelId="{3E09D758-9E5C-4F80-A95F-5790C6F25112}" type="parTrans" cxnId="{6121C626-6CC3-4667-AEF7-B9E9772AF4C7}">
      <dgm:prSet/>
      <dgm:spPr/>
      <dgm:t>
        <a:bodyPr/>
        <a:lstStyle/>
        <a:p>
          <a:endParaRPr lang="de-DE"/>
        </a:p>
      </dgm:t>
    </dgm:pt>
    <dgm:pt modelId="{98C84D52-CE43-4FF7-8DF9-27E9B8BEEC80}" type="sibTrans" cxnId="{6121C626-6CC3-4667-AEF7-B9E9772AF4C7}">
      <dgm:prSet/>
      <dgm:spPr/>
      <dgm:t>
        <a:bodyPr/>
        <a:lstStyle/>
        <a:p>
          <a:endParaRPr lang="de-DE"/>
        </a:p>
      </dgm:t>
    </dgm:pt>
    <dgm:pt modelId="{B4BC27E7-1912-4028-B8AF-D0123522ED76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Ausbildung</a:t>
          </a:r>
        </a:p>
      </dgm:t>
    </dgm:pt>
    <dgm:pt modelId="{AF08D933-6EE5-4E6F-8CE7-5545B1E475D6}" type="parTrans" cxnId="{FE45BE04-68C2-4601-9CE5-72B6AB2D7A7F}">
      <dgm:prSet/>
      <dgm:spPr/>
      <dgm:t>
        <a:bodyPr/>
        <a:lstStyle/>
        <a:p>
          <a:endParaRPr lang="de-DE"/>
        </a:p>
      </dgm:t>
    </dgm:pt>
    <dgm:pt modelId="{9D452CEF-F55E-4793-A40B-BDA8E84F3A66}" type="sibTrans" cxnId="{FE45BE04-68C2-4601-9CE5-72B6AB2D7A7F}">
      <dgm:prSet/>
      <dgm:spPr/>
      <dgm:t>
        <a:bodyPr/>
        <a:lstStyle/>
        <a:p>
          <a:endParaRPr lang="de-DE"/>
        </a:p>
      </dgm:t>
    </dgm:pt>
    <dgm:pt modelId="{6B7F4227-E49A-4109-BB6C-A95598A16D14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Grundlage für jede Anleitung im Spannungsfeld der praktischen Ausbildung</a:t>
          </a:r>
        </a:p>
      </dgm:t>
    </dgm:pt>
    <dgm:pt modelId="{4BE0B87C-8D4A-417F-908B-F40FA3F52808}" type="parTrans" cxnId="{B0D17365-2378-41E9-89C2-EEBAE0190462}">
      <dgm:prSet/>
      <dgm:spPr/>
      <dgm:t>
        <a:bodyPr/>
        <a:lstStyle/>
        <a:p>
          <a:endParaRPr lang="de-DE"/>
        </a:p>
      </dgm:t>
    </dgm:pt>
    <dgm:pt modelId="{D39E04BC-6B9C-4598-B479-94F7BFACBE04}" type="sibTrans" cxnId="{B0D17365-2378-41E9-89C2-EEBAE0190462}">
      <dgm:prSet/>
      <dgm:spPr/>
      <dgm:t>
        <a:bodyPr/>
        <a:lstStyle/>
        <a:p>
          <a:endParaRPr lang="de-DE"/>
        </a:p>
      </dgm:t>
    </dgm:pt>
    <dgm:pt modelId="{52A62B34-2341-495C-9C1F-4BE96D64AABD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Gesetzliche Vorgaben</a:t>
          </a:r>
        </a:p>
      </dgm:t>
    </dgm:pt>
    <dgm:pt modelId="{7256DEAD-3A56-4C63-A283-C101DFCB3BD0}" type="parTrans" cxnId="{F4812D72-0CA3-461B-9EEF-229A5A614309}">
      <dgm:prSet/>
      <dgm:spPr/>
      <dgm:t>
        <a:bodyPr/>
        <a:lstStyle/>
        <a:p>
          <a:endParaRPr lang="de-DE"/>
        </a:p>
      </dgm:t>
    </dgm:pt>
    <dgm:pt modelId="{3A4DFCBC-ECA8-498A-909F-ADB5C60CE013}" type="sibTrans" cxnId="{F4812D72-0CA3-461B-9EEF-229A5A614309}">
      <dgm:prSet/>
      <dgm:spPr/>
      <dgm:t>
        <a:bodyPr/>
        <a:lstStyle/>
        <a:p>
          <a:endParaRPr lang="de-DE"/>
        </a:p>
      </dgm:t>
    </dgm:pt>
    <dgm:pt modelId="{5A470996-E07D-4298-A159-A8ED608F811B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Aufgaben / Zuständigkeiten</a:t>
          </a:r>
        </a:p>
      </dgm:t>
    </dgm:pt>
    <dgm:pt modelId="{C26DA1EF-A5E1-4E57-98AA-335113005F1F}" type="parTrans" cxnId="{F04586CD-3F4B-4606-A76F-57643597678D}">
      <dgm:prSet/>
      <dgm:spPr/>
      <dgm:t>
        <a:bodyPr/>
        <a:lstStyle/>
        <a:p>
          <a:endParaRPr lang="de-DE"/>
        </a:p>
      </dgm:t>
    </dgm:pt>
    <dgm:pt modelId="{3B1BC7FB-00E9-41D5-8D5A-4F76CBD559AD}" type="sibTrans" cxnId="{F04586CD-3F4B-4606-A76F-57643597678D}">
      <dgm:prSet/>
      <dgm:spPr/>
      <dgm:t>
        <a:bodyPr/>
        <a:lstStyle/>
        <a:p>
          <a:endParaRPr lang="de-DE"/>
        </a:p>
      </dgm:t>
    </dgm:pt>
    <dgm:pt modelId="{5A0EB4B7-5241-4F84-BFBF-914DA496C9A4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Organisation</a:t>
          </a:r>
        </a:p>
      </dgm:t>
    </dgm:pt>
    <dgm:pt modelId="{278752E2-020B-4F82-9E8C-D1080C049F7F}" type="parTrans" cxnId="{26CD38C2-2EFC-40B7-AEDF-7A1C591BB286}">
      <dgm:prSet/>
      <dgm:spPr/>
      <dgm:t>
        <a:bodyPr/>
        <a:lstStyle/>
        <a:p>
          <a:endParaRPr lang="de-DE"/>
        </a:p>
      </dgm:t>
    </dgm:pt>
    <dgm:pt modelId="{936970A9-83B9-4AFA-A895-C39B00D29B78}" type="sibTrans" cxnId="{26CD38C2-2EFC-40B7-AEDF-7A1C591BB286}">
      <dgm:prSet/>
      <dgm:spPr/>
      <dgm:t>
        <a:bodyPr/>
        <a:lstStyle/>
        <a:p>
          <a:endParaRPr lang="de-DE"/>
        </a:p>
      </dgm:t>
    </dgm:pt>
    <dgm:pt modelId="{E8319059-B895-419D-9157-DCDC1B8064A5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Praktische Ausbildung hat Grenzen, die erkannt werden müssen</a:t>
          </a:r>
        </a:p>
      </dgm:t>
    </dgm:pt>
    <dgm:pt modelId="{D06BB795-C3E0-44EE-B900-86358405C599}" type="parTrans" cxnId="{F0ED8F52-ADCD-436F-880C-04ABFA4CD544}">
      <dgm:prSet/>
      <dgm:spPr/>
      <dgm:t>
        <a:bodyPr/>
        <a:lstStyle/>
        <a:p>
          <a:endParaRPr lang="de-DE"/>
        </a:p>
      </dgm:t>
    </dgm:pt>
    <dgm:pt modelId="{278029D1-933E-48E4-A7D4-B4447A25A359}" type="sibTrans" cxnId="{F0ED8F52-ADCD-436F-880C-04ABFA4CD544}">
      <dgm:prSet/>
      <dgm:spPr/>
      <dgm:t>
        <a:bodyPr/>
        <a:lstStyle/>
        <a:p>
          <a:endParaRPr lang="de-DE"/>
        </a:p>
      </dgm:t>
    </dgm:pt>
    <dgm:pt modelId="{7218139C-312C-4BC4-8E18-FE9BF2973706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Kommunikation</a:t>
          </a:r>
        </a:p>
      </dgm:t>
    </dgm:pt>
    <dgm:pt modelId="{303DCAAC-2A98-4738-B870-51BF5DB1E6ED}" type="parTrans" cxnId="{1E524AEF-0F2F-4FE5-AC66-E05D5193BAD1}">
      <dgm:prSet/>
      <dgm:spPr/>
    </dgm:pt>
    <dgm:pt modelId="{37B727CB-AE84-4FA5-82FE-8AA10770BACF}" type="sibTrans" cxnId="{1E524AEF-0F2F-4FE5-AC66-E05D5193BAD1}">
      <dgm:prSet/>
      <dgm:spPr/>
    </dgm:pt>
    <dgm:pt modelId="{43A6454F-5D68-481D-9A06-946B5794C75B}" type="pres">
      <dgm:prSet presAssocID="{960994A5-AA2B-432B-A147-F611CC671791}" presName="Name0" presStyleCnt="0">
        <dgm:presLayoutVars>
          <dgm:dir/>
          <dgm:animLvl val="lvl"/>
          <dgm:resizeHandles val="exact"/>
        </dgm:presLayoutVars>
      </dgm:prSet>
      <dgm:spPr/>
    </dgm:pt>
    <dgm:pt modelId="{64E9047D-B10B-4629-A0E8-454539582A99}" type="pres">
      <dgm:prSet presAssocID="{E8319059-B895-419D-9157-DCDC1B8064A5}" presName="boxAndChildren" presStyleCnt="0"/>
      <dgm:spPr/>
    </dgm:pt>
    <dgm:pt modelId="{41870E1C-37D2-4D8B-9837-A3E8CC58F4BD}" type="pres">
      <dgm:prSet presAssocID="{E8319059-B895-419D-9157-DCDC1B8064A5}" presName="parentTextBox" presStyleLbl="node1" presStyleIdx="0" presStyleCnt="3"/>
      <dgm:spPr/>
    </dgm:pt>
    <dgm:pt modelId="{7E8C90B1-C730-4552-BD04-F782A3F178F2}" type="pres">
      <dgm:prSet presAssocID="{D39E04BC-6B9C-4598-B479-94F7BFACBE04}" presName="sp" presStyleCnt="0"/>
      <dgm:spPr/>
    </dgm:pt>
    <dgm:pt modelId="{1E05450E-5D90-4B9B-ABF9-354443758DCE}" type="pres">
      <dgm:prSet presAssocID="{6B7F4227-E49A-4109-BB6C-A95598A16D14}" presName="arrowAndChildren" presStyleCnt="0"/>
      <dgm:spPr/>
    </dgm:pt>
    <dgm:pt modelId="{2DE5C30F-AB88-4327-93ED-98BD5A2D86E7}" type="pres">
      <dgm:prSet presAssocID="{6B7F4227-E49A-4109-BB6C-A95598A16D14}" presName="parentTextArrow" presStyleLbl="node1" presStyleIdx="1" presStyleCnt="3"/>
      <dgm:spPr/>
    </dgm:pt>
    <dgm:pt modelId="{3E119DDE-2115-4F1F-A36C-2FE9807292A4}" type="pres">
      <dgm:prSet presAssocID="{98C84D52-CE43-4FF7-8DF9-27E9B8BEEC80}" presName="sp" presStyleCnt="0"/>
      <dgm:spPr/>
    </dgm:pt>
    <dgm:pt modelId="{D9F624A0-EF92-48B8-9F89-3F0F74E58842}" type="pres">
      <dgm:prSet presAssocID="{E9A1AA43-6E67-4A9F-9A45-59037AEE6747}" presName="arrowAndChildren" presStyleCnt="0"/>
      <dgm:spPr/>
    </dgm:pt>
    <dgm:pt modelId="{D98C5947-D2BE-4B88-8B81-07A0A5D2FE61}" type="pres">
      <dgm:prSet presAssocID="{E9A1AA43-6E67-4A9F-9A45-59037AEE6747}" presName="parentTextArrow" presStyleLbl="node1" presStyleIdx="1" presStyleCnt="3"/>
      <dgm:spPr/>
    </dgm:pt>
    <dgm:pt modelId="{88E04149-2F1D-4B52-B422-71A1C8D10487}" type="pres">
      <dgm:prSet presAssocID="{E9A1AA43-6E67-4A9F-9A45-59037AEE6747}" presName="arrow" presStyleLbl="node1" presStyleIdx="2" presStyleCnt="3"/>
      <dgm:spPr/>
    </dgm:pt>
    <dgm:pt modelId="{5FC23104-289F-4985-94FE-A7F5071D2EF6}" type="pres">
      <dgm:prSet presAssocID="{E9A1AA43-6E67-4A9F-9A45-59037AEE6747}" presName="descendantArrow" presStyleCnt="0"/>
      <dgm:spPr/>
    </dgm:pt>
    <dgm:pt modelId="{315F7C17-0D56-4AD2-81CD-280A0F9B68E2}" type="pres">
      <dgm:prSet presAssocID="{5A0EB4B7-5241-4F84-BFBF-914DA496C9A4}" presName="childTextArrow" presStyleLbl="fgAccFollowNode1" presStyleIdx="0" presStyleCnt="5">
        <dgm:presLayoutVars>
          <dgm:bulletEnabled val="1"/>
        </dgm:presLayoutVars>
      </dgm:prSet>
      <dgm:spPr/>
    </dgm:pt>
    <dgm:pt modelId="{FFBF29FC-7603-4423-85A8-AC29C3B5BF9D}" type="pres">
      <dgm:prSet presAssocID="{5A470996-E07D-4298-A159-A8ED608F811B}" presName="childTextArrow" presStyleLbl="fgAccFollowNode1" presStyleIdx="1" presStyleCnt="5">
        <dgm:presLayoutVars>
          <dgm:bulletEnabled val="1"/>
        </dgm:presLayoutVars>
      </dgm:prSet>
      <dgm:spPr/>
    </dgm:pt>
    <dgm:pt modelId="{61AAB6AD-567D-4476-B88E-7E269168C083}" type="pres">
      <dgm:prSet presAssocID="{B4BC27E7-1912-4028-B8AF-D0123522ED76}" presName="childTextArrow" presStyleLbl="fgAccFollowNode1" presStyleIdx="2" presStyleCnt="5">
        <dgm:presLayoutVars>
          <dgm:bulletEnabled val="1"/>
        </dgm:presLayoutVars>
      </dgm:prSet>
      <dgm:spPr/>
    </dgm:pt>
    <dgm:pt modelId="{8D1636D6-344D-4245-9AA4-305533F31BBA}" type="pres">
      <dgm:prSet presAssocID="{52A62B34-2341-495C-9C1F-4BE96D64AABD}" presName="childTextArrow" presStyleLbl="fgAccFollowNode1" presStyleIdx="3" presStyleCnt="5">
        <dgm:presLayoutVars>
          <dgm:bulletEnabled val="1"/>
        </dgm:presLayoutVars>
      </dgm:prSet>
      <dgm:spPr/>
    </dgm:pt>
    <dgm:pt modelId="{64E22571-E845-4578-8462-BDCBF67046D4}" type="pres">
      <dgm:prSet presAssocID="{7218139C-312C-4BC4-8E18-FE9BF2973706}" presName="childTextArrow" presStyleLbl="fgAccFollowNode1" presStyleIdx="4" presStyleCnt="5">
        <dgm:presLayoutVars>
          <dgm:bulletEnabled val="1"/>
        </dgm:presLayoutVars>
      </dgm:prSet>
      <dgm:spPr/>
    </dgm:pt>
  </dgm:ptLst>
  <dgm:cxnLst>
    <dgm:cxn modelId="{FE45BE04-68C2-4601-9CE5-72B6AB2D7A7F}" srcId="{E9A1AA43-6E67-4A9F-9A45-59037AEE6747}" destId="{B4BC27E7-1912-4028-B8AF-D0123522ED76}" srcOrd="2" destOrd="0" parTransId="{AF08D933-6EE5-4E6F-8CE7-5545B1E475D6}" sibTransId="{9D452CEF-F55E-4793-A40B-BDA8E84F3A66}"/>
    <dgm:cxn modelId="{707BD90E-8B1F-4098-831C-148D5F0B22E9}" type="presOf" srcId="{5A470996-E07D-4298-A159-A8ED608F811B}" destId="{FFBF29FC-7603-4423-85A8-AC29C3B5BF9D}" srcOrd="0" destOrd="0" presId="urn:microsoft.com/office/officeart/2005/8/layout/process4"/>
    <dgm:cxn modelId="{52813C21-A485-49D8-A51E-E6D59001A33C}" type="presOf" srcId="{5A0EB4B7-5241-4F84-BFBF-914DA496C9A4}" destId="{315F7C17-0D56-4AD2-81CD-280A0F9B68E2}" srcOrd="0" destOrd="0" presId="urn:microsoft.com/office/officeart/2005/8/layout/process4"/>
    <dgm:cxn modelId="{6121C626-6CC3-4667-AEF7-B9E9772AF4C7}" srcId="{960994A5-AA2B-432B-A147-F611CC671791}" destId="{E9A1AA43-6E67-4A9F-9A45-59037AEE6747}" srcOrd="0" destOrd="0" parTransId="{3E09D758-9E5C-4F80-A95F-5790C6F25112}" sibTransId="{98C84D52-CE43-4FF7-8DF9-27E9B8BEEC80}"/>
    <dgm:cxn modelId="{F9DBBC3B-8F5D-4A9B-A03D-E2E8B4E463EB}" type="presOf" srcId="{E8319059-B895-419D-9157-DCDC1B8064A5}" destId="{41870E1C-37D2-4D8B-9837-A3E8CC58F4BD}" srcOrd="0" destOrd="0" presId="urn:microsoft.com/office/officeart/2005/8/layout/process4"/>
    <dgm:cxn modelId="{04143E42-9FD7-49FF-B104-1806F2C301B1}" type="presOf" srcId="{6B7F4227-E49A-4109-BB6C-A95598A16D14}" destId="{2DE5C30F-AB88-4327-93ED-98BD5A2D86E7}" srcOrd="0" destOrd="0" presId="urn:microsoft.com/office/officeart/2005/8/layout/process4"/>
    <dgm:cxn modelId="{B0D17365-2378-41E9-89C2-EEBAE0190462}" srcId="{960994A5-AA2B-432B-A147-F611CC671791}" destId="{6B7F4227-E49A-4109-BB6C-A95598A16D14}" srcOrd="1" destOrd="0" parTransId="{4BE0B87C-8D4A-417F-908B-F40FA3F52808}" sibTransId="{D39E04BC-6B9C-4598-B479-94F7BFACBE04}"/>
    <dgm:cxn modelId="{A3433D47-C96A-44A1-9390-B91E60222338}" type="presOf" srcId="{7218139C-312C-4BC4-8E18-FE9BF2973706}" destId="{64E22571-E845-4578-8462-BDCBF67046D4}" srcOrd="0" destOrd="0" presId="urn:microsoft.com/office/officeart/2005/8/layout/process4"/>
    <dgm:cxn modelId="{F4812D72-0CA3-461B-9EEF-229A5A614309}" srcId="{E9A1AA43-6E67-4A9F-9A45-59037AEE6747}" destId="{52A62B34-2341-495C-9C1F-4BE96D64AABD}" srcOrd="3" destOrd="0" parTransId="{7256DEAD-3A56-4C63-A283-C101DFCB3BD0}" sibTransId="{3A4DFCBC-ECA8-498A-909F-ADB5C60CE013}"/>
    <dgm:cxn modelId="{F0ED8F52-ADCD-436F-880C-04ABFA4CD544}" srcId="{960994A5-AA2B-432B-A147-F611CC671791}" destId="{E8319059-B895-419D-9157-DCDC1B8064A5}" srcOrd="2" destOrd="0" parTransId="{D06BB795-C3E0-44EE-B900-86358405C599}" sibTransId="{278029D1-933E-48E4-A7D4-B4447A25A359}"/>
    <dgm:cxn modelId="{3AC5F980-CF5A-4450-82B0-9EF7B1B054FD}" type="presOf" srcId="{960994A5-AA2B-432B-A147-F611CC671791}" destId="{43A6454F-5D68-481D-9A06-946B5794C75B}" srcOrd="0" destOrd="0" presId="urn:microsoft.com/office/officeart/2005/8/layout/process4"/>
    <dgm:cxn modelId="{183D2B82-5497-455A-B03C-CA75DA89AB82}" type="presOf" srcId="{E9A1AA43-6E67-4A9F-9A45-59037AEE6747}" destId="{88E04149-2F1D-4B52-B422-71A1C8D10487}" srcOrd="1" destOrd="0" presId="urn:microsoft.com/office/officeart/2005/8/layout/process4"/>
    <dgm:cxn modelId="{6979C99B-A191-4EB4-A85E-7DA984AAA57B}" type="presOf" srcId="{E9A1AA43-6E67-4A9F-9A45-59037AEE6747}" destId="{D98C5947-D2BE-4B88-8B81-07A0A5D2FE61}" srcOrd="0" destOrd="0" presId="urn:microsoft.com/office/officeart/2005/8/layout/process4"/>
    <dgm:cxn modelId="{D8B676AE-925A-4B00-9F6C-5B736088616D}" type="presOf" srcId="{B4BC27E7-1912-4028-B8AF-D0123522ED76}" destId="{61AAB6AD-567D-4476-B88E-7E269168C083}" srcOrd="0" destOrd="0" presId="urn:microsoft.com/office/officeart/2005/8/layout/process4"/>
    <dgm:cxn modelId="{26CD38C2-2EFC-40B7-AEDF-7A1C591BB286}" srcId="{E9A1AA43-6E67-4A9F-9A45-59037AEE6747}" destId="{5A0EB4B7-5241-4F84-BFBF-914DA496C9A4}" srcOrd="0" destOrd="0" parTransId="{278752E2-020B-4F82-9E8C-D1080C049F7F}" sibTransId="{936970A9-83B9-4AFA-A895-C39B00D29B78}"/>
    <dgm:cxn modelId="{F04586CD-3F4B-4606-A76F-57643597678D}" srcId="{E9A1AA43-6E67-4A9F-9A45-59037AEE6747}" destId="{5A470996-E07D-4298-A159-A8ED608F811B}" srcOrd="1" destOrd="0" parTransId="{C26DA1EF-A5E1-4E57-98AA-335113005F1F}" sibTransId="{3B1BC7FB-00E9-41D5-8D5A-4F76CBD559AD}"/>
    <dgm:cxn modelId="{110CE5ED-0FD3-4B9D-B61F-4D50E846E24E}" type="presOf" srcId="{52A62B34-2341-495C-9C1F-4BE96D64AABD}" destId="{8D1636D6-344D-4245-9AA4-305533F31BBA}" srcOrd="0" destOrd="0" presId="urn:microsoft.com/office/officeart/2005/8/layout/process4"/>
    <dgm:cxn modelId="{1E524AEF-0F2F-4FE5-AC66-E05D5193BAD1}" srcId="{E9A1AA43-6E67-4A9F-9A45-59037AEE6747}" destId="{7218139C-312C-4BC4-8E18-FE9BF2973706}" srcOrd="4" destOrd="0" parTransId="{303DCAAC-2A98-4738-B870-51BF5DB1E6ED}" sibTransId="{37B727CB-AE84-4FA5-82FE-8AA10770BACF}"/>
    <dgm:cxn modelId="{D6640C6E-687E-4023-8C12-D17F9436522D}" type="presParOf" srcId="{43A6454F-5D68-481D-9A06-946B5794C75B}" destId="{64E9047D-B10B-4629-A0E8-454539582A99}" srcOrd="0" destOrd="0" presId="urn:microsoft.com/office/officeart/2005/8/layout/process4"/>
    <dgm:cxn modelId="{C1DC4838-BF73-4774-8080-AC4608E4172F}" type="presParOf" srcId="{64E9047D-B10B-4629-A0E8-454539582A99}" destId="{41870E1C-37D2-4D8B-9837-A3E8CC58F4BD}" srcOrd="0" destOrd="0" presId="urn:microsoft.com/office/officeart/2005/8/layout/process4"/>
    <dgm:cxn modelId="{988E1B5C-8BEC-457B-ABE7-482E3AF5B525}" type="presParOf" srcId="{43A6454F-5D68-481D-9A06-946B5794C75B}" destId="{7E8C90B1-C730-4552-BD04-F782A3F178F2}" srcOrd="1" destOrd="0" presId="urn:microsoft.com/office/officeart/2005/8/layout/process4"/>
    <dgm:cxn modelId="{39AF2E89-E8F5-49BF-9717-28C12A84ED16}" type="presParOf" srcId="{43A6454F-5D68-481D-9A06-946B5794C75B}" destId="{1E05450E-5D90-4B9B-ABF9-354443758DCE}" srcOrd="2" destOrd="0" presId="urn:microsoft.com/office/officeart/2005/8/layout/process4"/>
    <dgm:cxn modelId="{218209CD-B9AE-41DA-ADC5-C8E89CA131E6}" type="presParOf" srcId="{1E05450E-5D90-4B9B-ABF9-354443758DCE}" destId="{2DE5C30F-AB88-4327-93ED-98BD5A2D86E7}" srcOrd="0" destOrd="0" presId="urn:microsoft.com/office/officeart/2005/8/layout/process4"/>
    <dgm:cxn modelId="{7FD45091-2CEC-46DE-8DCC-8ECC61A42A13}" type="presParOf" srcId="{43A6454F-5D68-481D-9A06-946B5794C75B}" destId="{3E119DDE-2115-4F1F-A36C-2FE9807292A4}" srcOrd="3" destOrd="0" presId="urn:microsoft.com/office/officeart/2005/8/layout/process4"/>
    <dgm:cxn modelId="{49128122-F72E-4073-9FED-4AE2199A28B5}" type="presParOf" srcId="{43A6454F-5D68-481D-9A06-946B5794C75B}" destId="{D9F624A0-EF92-48B8-9F89-3F0F74E58842}" srcOrd="4" destOrd="0" presId="urn:microsoft.com/office/officeart/2005/8/layout/process4"/>
    <dgm:cxn modelId="{5FE87067-D317-407B-8CC7-344673AEA200}" type="presParOf" srcId="{D9F624A0-EF92-48B8-9F89-3F0F74E58842}" destId="{D98C5947-D2BE-4B88-8B81-07A0A5D2FE61}" srcOrd="0" destOrd="0" presId="urn:microsoft.com/office/officeart/2005/8/layout/process4"/>
    <dgm:cxn modelId="{C20BA313-6EC7-43D2-86D2-D6046D56F27A}" type="presParOf" srcId="{D9F624A0-EF92-48B8-9F89-3F0F74E58842}" destId="{88E04149-2F1D-4B52-B422-71A1C8D10487}" srcOrd="1" destOrd="0" presId="urn:microsoft.com/office/officeart/2005/8/layout/process4"/>
    <dgm:cxn modelId="{7E088FA6-27CE-4359-AD46-055CEC775183}" type="presParOf" srcId="{D9F624A0-EF92-48B8-9F89-3F0F74E58842}" destId="{5FC23104-289F-4985-94FE-A7F5071D2EF6}" srcOrd="2" destOrd="0" presId="urn:microsoft.com/office/officeart/2005/8/layout/process4"/>
    <dgm:cxn modelId="{035A6E11-F38D-44DA-991B-5A310AEB73DF}" type="presParOf" srcId="{5FC23104-289F-4985-94FE-A7F5071D2EF6}" destId="{315F7C17-0D56-4AD2-81CD-280A0F9B68E2}" srcOrd="0" destOrd="0" presId="urn:microsoft.com/office/officeart/2005/8/layout/process4"/>
    <dgm:cxn modelId="{CB5C4A7A-0729-484D-BF02-33E8C069B683}" type="presParOf" srcId="{5FC23104-289F-4985-94FE-A7F5071D2EF6}" destId="{FFBF29FC-7603-4423-85A8-AC29C3B5BF9D}" srcOrd="1" destOrd="0" presId="urn:microsoft.com/office/officeart/2005/8/layout/process4"/>
    <dgm:cxn modelId="{CCE771A7-E620-40D8-A356-DC481C0C7C46}" type="presParOf" srcId="{5FC23104-289F-4985-94FE-A7F5071D2EF6}" destId="{61AAB6AD-567D-4476-B88E-7E269168C083}" srcOrd="2" destOrd="0" presId="urn:microsoft.com/office/officeart/2005/8/layout/process4"/>
    <dgm:cxn modelId="{64472788-5EA3-4D24-B71E-5A8D32CBB282}" type="presParOf" srcId="{5FC23104-289F-4985-94FE-A7F5071D2EF6}" destId="{8D1636D6-344D-4245-9AA4-305533F31BBA}" srcOrd="3" destOrd="0" presId="urn:microsoft.com/office/officeart/2005/8/layout/process4"/>
    <dgm:cxn modelId="{AFF91F8C-790C-4373-B396-1F87F3E9CD71}" type="presParOf" srcId="{5FC23104-289F-4985-94FE-A7F5071D2EF6}" destId="{64E22571-E845-4578-8462-BDCBF67046D4}" srcOrd="4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147B9A5-DB31-4CF9-A6CC-9A798EFF6A81}" type="doc">
      <dgm:prSet loTypeId="urn:microsoft.com/office/officeart/2005/8/layout/vProcess5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D7409DC6-3562-4022-8762-85845BAC566E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Analyse der Rahmenbedingungen</a:t>
          </a:r>
        </a:p>
      </dgm:t>
    </dgm:pt>
    <dgm:pt modelId="{0115DF74-BB6E-4C50-BA58-FA07A440346B}" type="parTrans" cxnId="{AC2402F0-3F80-41C0-A616-711CB80242DA}">
      <dgm:prSet/>
      <dgm:spPr/>
      <dgm:t>
        <a:bodyPr/>
        <a:lstStyle/>
        <a:p>
          <a:endParaRPr lang="de-DE"/>
        </a:p>
      </dgm:t>
    </dgm:pt>
    <dgm:pt modelId="{9FDD3D36-330A-453B-B311-1EC664C0566A}" type="sibTrans" cxnId="{AC2402F0-3F80-41C0-A616-711CB80242DA}">
      <dgm:prSet/>
      <dgm:spPr/>
      <dgm:t>
        <a:bodyPr/>
        <a:lstStyle/>
        <a:p>
          <a:endParaRPr lang="de-DE"/>
        </a:p>
      </dgm:t>
    </dgm:pt>
    <dgm:pt modelId="{DDA26F2C-358F-4F42-99C9-F54505013E6F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Mitgestaltung der Rahmenbedingungen</a:t>
          </a:r>
        </a:p>
      </dgm:t>
    </dgm:pt>
    <dgm:pt modelId="{55865DE6-53D6-458B-869A-36820F7E0B9C}" type="parTrans" cxnId="{B63A75E3-D33C-4992-8898-F0D2AFC37FC2}">
      <dgm:prSet/>
      <dgm:spPr/>
      <dgm:t>
        <a:bodyPr/>
        <a:lstStyle/>
        <a:p>
          <a:endParaRPr lang="de-DE"/>
        </a:p>
      </dgm:t>
    </dgm:pt>
    <dgm:pt modelId="{8FEE9098-88EC-4623-9616-6D718F448F97}" type="sibTrans" cxnId="{B63A75E3-D33C-4992-8898-F0D2AFC37FC2}">
      <dgm:prSet/>
      <dgm:spPr/>
      <dgm:t>
        <a:bodyPr/>
        <a:lstStyle/>
        <a:p>
          <a:endParaRPr lang="de-DE"/>
        </a:p>
      </dgm:t>
    </dgm:pt>
    <dgm:pt modelId="{5A4021B7-13EB-4339-BCC4-E192BC3A0775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Inhaltliche Strukturierung der Praxisausbildung beeinflussen</a:t>
          </a:r>
        </a:p>
      </dgm:t>
    </dgm:pt>
    <dgm:pt modelId="{F15882F6-0A56-4AC5-BF4A-A6D1DB3573CF}" type="parTrans" cxnId="{3B96F322-A51B-4838-9E49-5B30C79EA0E9}">
      <dgm:prSet/>
      <dgm:spPr/>
      <dgm:t>
        <a:bodyPr/>
        <a:lstStyle/>
        <a:p>
          <a:endParaRPr lang="de-DE"/>
        </a:p>
      </dgm:t>
    </dgm:pt>
    <dgm:pt modelId="{DFD58EB4-9D6B-4D98-A106-2AB53C28074F}" type="sibTrans" cxnId="{3B96F322-A51B-4838-9E49-5B30C79EA0E9}">
      <dgm:prSet/>
      <dgm:spPr/>
      <dgm:t>
        <a:bodyPr/>
        <a:lstStyle/>
        <a:p>
          <a:endParaRPr lang="de-DE"/>
        </a:p>
      </dgm:t>
    </dgm:pt>
    <dgm:pt modelId="{D1B7D019-3A13-4D9F-B438-ECA022D1AE7F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Lernangebote schaffen</a:t>
          </a:r>
        </a:p>
      </dgm:t>
    </dgm:pt>
    <dgm:pt modelId="{51B5EC93-F9AE-4A06-A5BC-6DA015EE0870}" type="parTrans" cxnId="{ABB24484-7795-49C1-9583-3A3433FD7D87}">
      <dgm:prSet/>
      <dgm:spPr/>
      <dgm:t>
        <a:bodyPr/>
        <a:lstStyle/>
        <a:p>
          <a:endParaRPr lang="de-DE"/>
        </a:p>
      </dgm:t>
    </dgm:pt>
    <dgm:pt modelId="{4D59CBA4-60B9-4BF7-9B96-567F695A2F1A}" type="sibTrans" cxnId="{ABB24484-7795-49C1-9583-3A3433FD7D87}">
      <dgm:prSet/>
      <dgm:spPr/>
      <dgm:t>
        <a:bodyPr/>
        <a:lstStyle/>
        <a:p>
          <a:endParaRPr lang="de-DE"/>
        </a:p>
      </dgm:t>
    </dgm:pt>
    <dgm:pt modelId="{BAFE7768-9826-40C3-9564-C093F546C3BB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Anleitungsaufgaben erstellen</a:t>
          </a:r>
        </a:p>
      </dgm:t>
    </dgm:pt>
    <dgm:pt modelId="{B0941FAE-39AC-42DD-842F-353C4C05DAAB}" type="parTrans" cxnId="{77CCDBCF-1F48-4C42-9451-FBC259BC4DB6}">
      <dgm:prSet/>
      <dgm:spPr/>
      <dgm:t>
        <a:bodyPr/>
        <a:lstStyle/>
        <a:p>
          <a:endParaRPr lang="de-DE"/>
        </a:p>
      </dgm:t>
    </dgm:pt>
    <dgm:pt modelId="{D2B45C6D-AD3D-4520-870F-9F4B63E9A53B}" type="sibTrans" cxnId="{77CCDBCF-1F48-4C42-9451-FBC259BC4DB6}">
      <dgm:prSet/>
      <dgm:spPr/>
      <dgm:t>
        <a:bodyPr/>
        <a:lstStyle/>
        <a:p>
          <a:endParaRPr lang="de-DE"/>
        </a:p>
      </dgm:t>
    </dgm:pt>
    <dgm:pt modelId="{FF34FEC4-5097-4F44-969B-0C84202FA28C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Kommunikative Rahmenbedingungen gestalten</a:t>
          </a:r>
        </a:p>
      </dgm:t>
    </dgm:pt>
    <dgm:pt modelId="{10EC7BE5-D7A5-4A2D-A561-DCEC0C77E8BC}" type="parTrans" cxnId="{4A59470A-1B2D-4C78-BAE1-AEA2DD2BC8DD}">
      <dgm:prSet/>
      <dgm:spPr/>
      <dgm:t>
        <a:bodyPr/>
        <a:lstStyle/>
        <a:p>
          <a:endParaRPr lang="de-DE"/>
        </a:p>
      </dgm:t>
    </dgm:pt>
    <dgm:pt modelId="{C822BDA9-829F-4C88-86E4-A1A76632559C}" type="sibTrans" cxnId="{4A59470A-1B2D-4C78-BAE1-AEA2DD2BC8DD}">
      <dgm:prSet/>
      <dgm:spPr/>
      <dgm:t>
        <a:bodyPr/>
        <a:lstStyle/>
        <a:p>
          <a:endParaRPr lang="de-DE"/>
        </a:p>
      </dgm:t>
    </dgm:pt>
    <dgm:pt modelId="{9E792AA0-07F5-47F7-8534-A52047D982C1}" type="pres">
      <dgm:prSet presAssocID="{3147B9A5-DB31-4CF9-A6CC-9A798EFF6A81}" presName="outerComposite" presStyleCnt="0">
        <dgm:presLayoutVars>
          <dgm:chMax val="5"/>
          <dgm:dir/>
          <dgm:resizeHandles val="exact"/>
        </dgm:presLayoutVars>
      </dgm:prSet>
      <dgm:spPr/>
    </dgm:pt>
    <dgm:pt modelId="{989E1E12-6E35-428D-AAA8-E90C6B15EA61}" type="pres">
      <dgm:prSet presAssocID="{3147B9A5-DB31-4CF9-A6CC-9A798EFF6A81}" presName="dummyMaxCanvas" presStyleCnt="0">
        <dgm:presLayoutVars/>
      </dgm:prSet>
      <dgm:spPr/>
    </dgm:pt>
    <dgm:pt modelId="{0CAC6801-FEEA-4FB3-B3AA-959B6F1F272E}" type="pres">
      <dgm:prSet presAssocID="{3147B9A5-DB31-4CF9-A6CC-9A798EFF6A81}" presName="ThreeNodes_1" presStyleLbl="node1" presStyleIdx="0" presStyleCnt="3">
        <dgm:presLayoutVars>
          <dgm:bulletEnabled val="1"/>
        </dgm:presLayoutVars>
      </dgm:prSet>
      <dgm:spPr/>
    </dgm:pt>
    <dgm:pt modelId="{7BA78D5B-4E89-49E9-B310-F08146E07D27}" type="pres">
      <dgm:prSet presAssocID="{3147B9A5-DB31-4CF9-A6CC-9A798EFF6A81}" presName="ThreeNodes_2" presStyleLbl="node1" presStyleIdx="1" presStyleCnt="3">
        <dgm:presLayoutVars>
          <dgm:bulletEnabled val="1"/>
        </dgm:presLayoutVars>
      </dgm:prSet>
      <dgm:spPr/>
    </dgm:pt>
    <dgm:pt modelId="{4F426EC0-E9A0-4CCD-82EE-6D274B5B0336}" type="pres">
      <dgm:prSet presAssocID="{3147B9A5-DB31-4CF9-A6CC-9A798EFF6A81}" presName="ThreeNodes_3" presStyleLbl="node1" presStyleIdx="2" presStyleCnt="3">
        <dgm:presLayoutVars>
          <dgm:bulletEnabled val="1"/>
        </dgm:presLayoutVars>
      </dgm:prSet>
      <dgm:spPr/>
    </dgm:pt>
    <dgm:pt modelId="{C302653A-D7AB-4A00-B4E2-77F1A1113228}" type="pres">
      <dgm:prSet presAssocID="{3147B9A5-DB31-4CF9-A6CC-9A798EFF6A81}" presName="ThreeConn_1-2" presStyleLbl="fgAccFollowNode1" presStyleIdx="0" presStyleCnt="2">
        <dgm:presLayoutVars>
          <dgm:bulletEnabled val="1"/>
        </dgm:presLayoutVars>
      </dgm:prSet>
      <dgm:spPr/>
    </dgm:pt>
    <dgm:pt modelId="{EA7B44C7-CAF8-4071-A3BD-F217F1D92801}" type="pres">
      <dgm:prSet presAssocID="{3147B9A5-DB31-4CF9-A6CC-9A798EFF6A81}" presName="ThreeConn_2-3" presStyleLbl="fgAccFollowNode1" presStyleIdx="1" presStyleCnt="2">
        <dgm:presLayoutVars>
          <dgm:bulletEnabled val="1"/>
        </dgm:presLayoutVars>
      </dgm:prSet>
      <dgm:spPr/>
    </dgm:pt>
    <dgm:pt modelId="{300944E1-98AF-43D1-8DD5-00F9078D0FD3}" type="pres">
      <dgm:prSet presAssocID="{3147B9A5-DB31-4CF9-A6CC-9A798EFF6A81}" presName="ThreeNodes_1_text" presStyleLbl="node1" presStyleIdx="2" presStyleCnt="3">
        <dgm:presLayoutVars>
          <dgm:bulletEnabled val="1"/>
        </dgm:presLayoutVars>
      </dgm:prSet>
      <dgm:spPr/>
    </dgm:pt>
    <dgm:pt modelId="{FD53054F-968C-4582-919D-EE10C5DB0E18}" type="pres">
      <dgm:prSet presAssocID="{3147B9A5-DB31-4CF9-A6CC-9A798EFF6A81}" presName="ThreeNodes_2_text" presStyleLbl="node1" presStyleIdx="2" presStyleCnt="3">
        <dgm:presLayoutVars>
          <dgm:bulletEnabled val="1"/>
        </dgm:presLayoutVars>
      </dgm:prSet>
      <dgm:spPr/>
    </dgm:pt>
    <dgm:pt modelId="{09EDC119-D83A-4B6A-A561-ED45E2A42E1F}" type="pres">
      <dgm:prSet presAssocID="{3147B9A5-DB31-4CF9-A6CC-9A798EFF6A81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4A59470A-1B2D-4C78-BAE1-AEA2DD2BC8DD}" srcId="{5A4021B7-13EB-4339-BCC4-E192BC3A0775}" destId="{FF34FEC4-5097-4F44-969B-0C84202FA28C}" srcOrd="2" destOrd="0" parTransId="{10EC7BE5-D7A5-4A2D-A561-DCEC0C77E8BC}" sibTransId="{C822BDA9-829F-4C88-86E4-A1A76632559C}"/>
    <dgm:cxn modelId="{43E7950B-1133-4764-9627-18596F998623}" type="presOf" srcId="{FF34FEC4-5097-4F44-969B-0C84202FA28C}" destId="{4F426EC0-E9A0-4CCD-82EE-6D274B5B0336}" srcOrd="0" destOrd="3" presId="urn:microsoft.com/office/officeart/2005/8/layout/vProcess5"/>
    <dgm:cxn modelId="{142BFC0B-B6C7-440A-BF82-28EAD5F94179}" type="presOf" srcId="{D7409DC6-3562-4022-8762-85845BAC566E}" destId="{0CAC6801-FEEA-4FB3-B3AA-959B6F1F272E}" srcOrd="0" destOrd="0" presId="urn:microsoft.com/office/officeart/2005/8/layout/vProcess5"/>
    <dgm:cxn modelId="{39CAAF0E-0D27-40CD-9220-28A19FF85E16}" type="presOf" srcId="{3147B9A5-DB31-4CF9-A6CC-9A798EFF6A81}" destId="{9E792AA0-07F5-47F7-8534-A52047D982C1}" srcOrd="0" destOrd="0" presId="urn:microsoft.com/office/officeart/2005/8/layout/vProcess5"/>
    <dgm:cxn modelId="{490E8F14-A3DB-4F30-922E-5C4ACB19035D}" type="presOf" srcId="{DDA26F2C-358F-4F42-99C9-F54505013E6F}" destId="{7BA78D5B-4E89-49E9-B310-F08146E07D27}" srcOrd="0" destOrd="0" presId="urn:microsoft.com/office/officeart/2005/8/layout/vProcess5"/>
    <dgm:cxn modelId="{3B96F322-A51B-4838-9E49-5B30C79EA0E9}" srcId="{3147B9A5-DB31-4CF9-A6CC-9A798EFF6A81}" destId="{5A4021B7-13EB-4339-BCC4-E192BC3A0775}" srcOrd="2" destOrd="0" parTransId="{F15882F6-0A56-4AC5-BF4A-A6D1DB3573CF}" sibTransId="{DFD58EB4-9D6B-4D98-A106-2AB53C28074F}"/>
    <dgm:cxn modelId="{19B74D2D-75BC-4CA9-BA8A-DE3D51D63814}" type="presOf" srcId="{FF34FEC4-5097-4F44-969B-0C84202FA28C}" destId="{09EDC119-D83A-4B6A-A561-ED45E2A42E1F}" srcOrd="1" destOrd="3" presId="urn:microsoft.com/office/officeart/2005/8/layout/vProcess5"/>
    <dgm:cxn modelId="{04879B65-8B8E-4F39-97C8-4DF9BB5B0C37}" type="presOf" srcId="{BAFE7768-9826-40C3-9564-C093F546C3BB}" destId="{09EDC119-D83A-4B6A-A561-ED45E2A42E1F}" srcOrd="1" destOrd="2" presId="urn:microsoft.com/office/officeart/2005/8/layout/vProcess5"/>
    <dgm:cxn modelId="{D27B8E4C-D0BF-45F4-86A8-05EA10A54308}" type="presOf" srcId="{DDA26F2C-358F-4F42-99C9-F54505013E6F}" destId="{FD53054F-968C-4582-919D-EE10C5DB0E18}" srcOrd="1" destOrd="0" presId="urn:microsoft.com/office/officeart/2005/8/layout/vProcess5"/>
    <dgm:cxn modelId="{E9C91855-AE61-4756-BAE6-093C2B1171C3}" type="presOf" srcId="{BAFE7768-9826-40C3-9564-C093F546C3BB}" destId="{4F426EC0-E9A0-4CCD-82EE-6D274B5B0336}" srcOrd="0" destOrd="2" presId="urn:microsoft.com/office/officeart/2005/8/layout/vProcess5"/>
    <dgm:cxn modelId="{BE785481-8173-4F57-9F95-57F903B0C1A3}" type="presOf" srcId="{9FDD3D36-330A-453B-B311-1EC664C0566A}" destId="{C302653A-D7AB-4A00-B4E2-77F1A1113228}" srcOrd="0" destOrd="0" presId="urn:microsoft.com/office/officeart/2005/8/layout/vProcess5"/>
    <dgm:cxn modelId="{ABB24484-7795-49C1-9583-3A3433FD7D87}" srcId="{5A4021B7-13EB-4339-BCC4-E192BC3A0775}" destId="{D1B7D019-3A13-4D9F-B438-ECA022D1AE7F}" srcOrd="0" destOrd="0" parTransId="{51B5EC93-F9AE-4A06-A5BC-6DA015EE0870}" sibTransId="{4D59CBA4-60B9-4BF7-9B96-567F695A2F1A}"/>
    <dgm:cxn modelId="{E5C1EF9F-D0DB-4D34-A6B7-5F3705E77696}" type="presOf" srcId="{D1B7D019-3A13-4D9F-B438-ECA022D1AE7F}" destId="{09EDC119-D83A-4B6A-A561-ED45E2A42E1F}" srcOrd="1" destOrd="1" presId="urn:microsoft.com/office/officeart/2005/8/layout/vProcess5"/>
    <dgm:cxn modelId="{B57251B4-C4BD-475A-BCC3-48D2A862E297}" type="presOf" srcId="{5A4021B7-13EB-4339-BCC4-E192BC3A0775}" destId="{4F426EC0-E9A0-4CCD-82EE-6D274B5B0336}" srcOrd="0" destOrd="0" presId="urn:microsoft.com/office/officeart/2005/8/layout/vProcess5"/>
    <dgm:cxn modelId="{F9CCA5C5-75FB-43DF-A161-B5CD4F602A36}" type="presOf" srcId="{D1B7D019-3A13-4D9F-B438-ECA022D1AE7F}" destId="{4F426EC0-E9A0-4CCD-82EE-6D274B5B0336}" srcOrd="0" destOrd="1" presId="urn:microsoft.com/office/officeart/2005/8/layout/vProcess5"/>
    <dgm:cxn modelId="{676C64CF-6FC5-4635-821E-9096E0963603}" type="presOf" srcId="{8FEE9098-88EC-4623-9616-6D718F448F97}" destId="{EA7B44C7-CAF8-4071-A3BD-F217F1D92801}" srcOrd="0" destOrd="0" presId="urn:microsoft.com/office/officeart/2005/8/layout/vProcess5"/>
    <dgm:cxn modelId="{77CCDBCF-1F48-4C42-9451-FBC259BC4DB6}" srcId="{5A4021B7-13EB-4339-BCC4-E192BC3A0775}" destId="{BAFE7768-9826-40C3-9564-C093F546C3BB}" srcOrd="1" destOrd="0" parTransId="{B0941FAE-39AC-42DD-842F-353C4C05DAAB}" sibTransId="{D2B45C6D-AD3D-4520-870F-9F4B63E9A53B}"/>
    <dgm:cxn modelId="{4D005FDA-555A-4695-98FA-A4DC4DECEB4E}" type="presOf" srcId="{D7409DC6-3562-4022-8762-85845BAC566E}" destId="{300944E1-98AF-43D1-8DD5-00F9078D0FD3}" srcOrd="1" destOrd="0" presId="urn:microsoft.com/office/officeart/2005/8/layout/vProcess5"/>
    <dgm:cxn modelId="{B63A75E3-D33C-4992-8898-F0D2AFC37FC2}" srcId="{3147B9A5-DB31-4CF9-A6CC-9A798EFF6A81}" destId="{DDA26F2C-358F-4F42-99C9-F54505013E6F}" srcOrd="1" destOrd="0" parTransId="{55865DE6-53D6-458B-869A-36820F7E0B9C}" sibTransId="{8FEE9098-88EC-4623-9616-6D718F448F97}"/>
    <dgm:cxn modelId="{AC2402F0-3F80-41C0-A616-711CB80242DA}" srcId="{3147B9A5-DB31-4CF9-A6CC-9A798EFF6A81}" destId="{D7409DC6-3562-4022-8762-85845BAC566E}" srcOrd="0" destOrd="0" parTransId="{0115DF74-BB6E-4C50-BA58-FA07A440346B}" sibTransId="{9FDD3D36-330A-453B-B311-1EC664C0566A}"/>
    <dgm:cxn modelId="{92357BFF-B494-4FE4-A3E9-1B46CB35BA55}" type="presOf" srcId="{5A4021B7-13EB-4339-BCC4-E192BC3A0775}" destId="{09EDC119-D83A-4B6A-A561-ED45E2A42E1F}" srcOrd="1" destOrd="0" presId="urn:microsoft.com/office/officeart/2005/8/layout/vProcess5"/>
    <dgm:cxn modelId="{6D0F495C-1D04-4CC9-B496-46ED72976FFC}" type="presParOf" srcId="{9E792AA0-07F5-47F7-8534-A52047D982C1}" destId="{989E1E12-6E35-428D-AAA8-E90C6B15EA61}" srcOrd="0" destOrd="0" presId="urn:microsoft.com/office/officeart/2005/8/layout/vProcess5"/>
    <dgm:cxn modelId="{AEFFAFD4-3008-4BA6-AEFE-281C810A9EB9}" type="presParOf" srcId="{9E792AA0-07F5-47F7-8534-A52047D982C1}" destId="{0CAC6801-FEEA-4FB3-B3AA-959B6F1F272E}" srcOrd="1" destOrd="0" presId="urn:microsoft.com/office/officeart/2005/8/layout/vProcess5"/>
    <dgm:cxn modelId="{A7932775-6A90-40B2-BB3D-70EF4EDABD50}" type="presParOf" srcId="{9E792AA0-07F5-47F7-8534-A52047D982C1}" destId="{7BA78D5B-4E89-49E9-B310-F08146E07D27}" srcOrd="2" destOrd="0" presId="urn:microsoft.com/office/officeart/2005/8/layout/vProcess5"/>
    <dgm:cxn modelId="{252FDC9C-D949-4FD0-A3ED-56A8F9C223D3}" type="presParOf" srcId="{9E792AA0-07F5-47F7-8534-A52047D982C1}" destId="{4F426EC0-E9A0-4CCD-82EE-6D274B5B0336}" srcOrd="3" destOrd="0" presId="urn:microsoft.com/office/officeart/2005/8/layout/vProcess5"/>
    <dgm:cxn modelId="{6F10FD24-C19B-4B39-AF12-B2E36CAAD1CA}" type="presParOf" srcId="{9E792AA0-07F5-47F7-8534-A52047D982C1}" destId="{C302653A-D7AB-4A00-B4E2-77F1A1113228}" srcOrd="4" destOrd="0" presId="urn:microsoft.com/office/officeart/2005/8/layout/vProcess5"/>
    <dgm:cxn modelId="{CBA2D1B1-289F-4126-9D52-C52FBF9708BE}" type="presParOf" srcId="{9E792AA0-07F5-47F7-8534-A52047D982C1}" destId="{EA7B44C7-CAF8-4071-A3BD-F217F1D92801}" srcOrd="5" destOrd="0" presId="urn:microsoft.com/office/officeart/2005/8/layout/vProcess5"/>
    <dgm:cxn modelId="{E94EDB41-C2E5-4F92-8580-E9D3C90F5777}" type="presParOf" srcId="{9E792AA0-07F5-47F7-8534-A52047D982C1}" destId="{300944E1-98AF-43D1-8DD5-00F9078D0FD3}" srcOrd="6" destOrd="0" presId="urn:microsoft.com/office/officeart/2005/8/layout/vProcess5"/>
    <dgm:cxn modelId="{8D756C9A-4DED-4C51-99AA-6E59E43EB733}" type="presParOf" srcId="{9E792AA0-07F5-47F7-8534-A52047D982C1}" destId="{FD53054F-968C-4582-919D-EE10C5DB0E18}" srcOrd="7" destOrd="0" presId="urn:microsoft.com/office/officeart/2005/8/layout/vProcess5"/>
    <dgm:cxn modelId="{E8FADF08-07F8-4A63-82B0-BC2DFD0700A6}" type="presParOf" srcId="{9E792AA0-07F5-47F7-8534-A52047D982C1}" destId="{09EDC119-D83A-4B6A-A561-ED45E2A42E1F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76971CD-FFA3-47FF-A0B2-4D5F5A87DD3F}" type="doc">
      <dgm:prSet loTypeId="urn:microsoft.com/office/officeart/2005/8/layout/process4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E53A7919-813C-4D12-B241-A23BDB37CED7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Kommunikation</a:t>
          </a:r>
        </a:p>
      </dgm:t>
    </dgm:pt>
    <dgm:pt modelId="{1E1E9F68-BCD8-492A-B754-79F3857B6F46}" type="parTrans" cxnId="{A9CAEC76-E27E-4DBC-97A5-A946A34D437F}">
      <dgm:prSet/>
      <dgm:spPr/>
      <dgm:t>
        <a:bodyPr/>
        <a:lstStyle/>
        <a:p>
          <a:endParaRPr lang="de-DE"/>
        </a:p>
      </dgm:t>
    </dgm:pt>
    <dgm:pt modelId="{5F02335C-F904-40CA-B6CE-CCD571DEF777}" type="sibTrans" cxnId="{A9CAEC76-E27E-4DBC-97A5-A946A34D437F}">
      <dgm:prSet/>
      <dgm:spPr/>
      <dgm:t>
        <a:bodyPr/>
        <a:lstStyle/>
        <a:p>
          <a:endParaRPr lang="de-DE"/>
        </a:p>
      </dgm:t>
    </dgm:pt>
    <dgm:pt modelId="{79F58F1A-93B7-47E9-BEFE-46BEEE684640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Vorgespräch</a:t>
          </a:r>
        </a:p>
      </dgm:t>
    </dgm:pt>
    <dgm:pt modelId="{8E6AA594-937B-4A95-90C2-3843900A7D49}" type="parTrans" cxnId="{43069D68-0D81-4D35-AA44-36440DC7B901}">
      <dgm:prSet/>
      <dgm:spPr/>
      <dgm:t>
        <a:bodyPr/>
        <a:lstStyle/>
        <a:p>
          <a:endParaRPr lang="de-DE"/>
        </a:p>
      </dgm:t>
    </dgm:pt>
    <dgm:pt modelId="{49505FC8-E669-49BE-90DE-86A93943A064}" type="sibTrans" cxnId="{43069D68-0D81-4D35-AA44-36440DC7B901}">
      <dgm:prSet/>
      <dgm:spPr/>
      <dgm:t>
        <a:bodyPr/>
        <a:lstStyle/>
        <a:p>
          <a:endParaRPr lang="de-DE"/>
        </a:p>
      </dgm:t>
    </dgm:pt>
    <dgm:pt modelId="{BE7CE3D0-4757-41A4-A5E9-6CFD156035DC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Feedback</a:t>
          </a:r>
        </a:p>
      </dgm:t>
    </dgm:pt>
    <dgm:pt modelId="{D9F820F8-2FCB-4EA1-8CF8-8F4DA32336C7}" type="parTrans" cxnId="{3EE84C21-4B98-4030-88F0-8699D5AF839B}">
      <dgm:prSet/>
      <dgm:spPr/>
      <dgm:t>
        <a:bodyPr/>
        <a:lstStyle/>
        <a:p>
          <a:endParaRPr lang="de-DE"/>
        </a:p>
      </dgm:t>
    </dgm:pt>
    <dgm:pt modelId="{41A068AD-B061-4FD9-A1F7-2F1B15283B56}" type="sibTrans" cxnId="{3EE84C21-4B98-4030-88F0-8699D5AF839B}">
      <dgm:prSet/>
      <dgm:spPr/>
      <dgm:t>
        <a:bodyPr/>
        <a:lstStyle/>
        <a:p>
          <a:endParaRPr lang="de-DE"/>
        </a:p>
      </dgm:t>
    </dgm:pt>
    <dgm:pt modelId="{AC628005-016E-42D2-BD10-06F1FE080E6C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Nachgespräch</a:t>
          </a:r>
        </a:p>
      </dgm:t>
    </dgm:pt>
    <dgm:pt modelId="{198F3706-15E9-4D93-AFC7-1EE4937525F2}" type="parTrans" cxnId="{711C9C46-38C2-44FF-91BF-64563B6A8EB8}">
      <dgm:prSet/>
      <dgm:spPr/>
      <dgm:t>
        <a:bodyPr/>
        <a:lstStyle/>
        <a:p>
          <a:endParaRPr lang="de-DE"/>
        </a:p>
      </dgm:t>
    </dgm:pt>
    <dgm:pt modelId="{AD39AE5B-2518-482C-ADF7-D103F610A363}" type="sibTrans" cxnId="{711C9C46-38C2-44FF-91BF-64563B6A8EB8}">
      <dgm:prSet/>
      <dgm:spPr/>
      <dgm:t>
        <a:bodyPr/>
        <a:lstStyle/>
        <a:p>
          <a:endParaRPr lang="de-DE"/>
        </a:p>
      </dgm:t>
    </dgm:pt>
    <dgm:pt modelId="{83199C06-1F34-4C66-B9BB-F1F4209346B9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Beurteilung</a:t>
          </a:r>
        </a:p>
      </dgm:t>
    </dgm:pt>
    <dgm:pt modelId="{6268EED5-181B-43A0-84B6-59EF7ED0AA9A}" type="parTrans" cxnId="{81A28E57-0ACA-42DB-92DB-5D748E41A551}">
      <dgm:prSet/>
      <dgm:spPr/>
      <dgm:t>
        <a:bodyPr/>
        <a:lstStyle/>
        <a:p>
          <a:endParaRPr lang="de-DE"/>
        </a:p>
      </dgm:t>
    </dgm:pt>
    <dgm:pt modelId="{700105DD-6F0D-47AE-B181-A288090E0B01}" type="sibTrans" cxnId="{81A28E57-0ACA-42DB-92DB-5D748E41A551}">
      <dgm:prSet/>
      <dgm:spPr/>
      <dgm:t>
        <a:bodyPr/>
        <a:lstStyle/>
        <a:p>
          <a:endParaRPr lang="de-DE"/>
        </a:p>
      </dgm:t>
    </dgm:pt>
    <dgm:pt modelId="{8CBEACC9-439A-44E9-B928-AABD7BF7A431}">
      <dgm:prSet phldrT="[Text]" custT="1"/>
      <dgm:spPr/>
      <dgm:t>
        <a:bodyPr/>
        <a:lstStyle/>
        <a:p>
          <a:r>
            <a:rPr lang="de-DE" sz="1600" dirty="0">
              <a:solidFill>
                <a:schemeClr val="tx1"/>
              </a:solidFill>
            </a:rPr>
            <a:t>Prüfung</a:t>
          </a:r>
        </a:p>
      </dgm:t>
    </dgm:pt>
    <dgm:pt modelId="{8BAB0054-46E1-4BBE-BBF2-2892BB876B56}" type="parTrans" cxnId="{43B801C0-F09F-4EA2-9063-2CED7CBA5C91}">
      <dgm:prSet/>
      <dgm:spPr/>
      <dgm:t>
        <a:bodyPr/>
        <a:lstStyle/>
        <a:p>
          <a:endParaRPr lang="de-DE"/>
        </a:p>
      </dgm:t>
    </dgm:pt>
    <dgm:pt modelId="{EA8507A5-4425-4FC9-8BC6-F1B99F5A35F1}" type="sibTrans" cxnId="{43B801C0-F09F-4EA2-9063-2CED7CBA5C91}">
      <dgm:prSet/>
      <dgm:spPr/>
      <dgm:t>
        <a:bodyPr/>
        <a:lstStyle/>
        <a:p>
          <a:endParaRPr lang="de-DE"/>
        </a:p>
      </dgm:t>
    </dgm:pt>
    <dgm:pt modelId="{26231EF9-6FAD-4BE5-A7E2-ED8175DAA09E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Praktischer Einsatz</a:t>
          </a:r>
        </a:p>
      </dgm:t>
    </dgm:pt>
    <dgm:pt modelId="{190BAD6F-5E7E-40DE-B2AC-9F20A43C6EF4}" type="parTrans" cxnId="{20643EDF-4C9F-4300-B601-8DF891267CBA}">
      <dgm:prSet/>
      <dgm:spPr/>
      <dgm:t>
        <a:bodyPr/>
        <a:lstStyle/>
        <a:p>
          <a:endParaRPr lang="de-DE"/>
        </a:p>
      </dgm:t>
    </dgm:pt>
    <dgm:pt modelId="{5089C3CF-537E-4258-8991-EEA35587E7C9}" type="sibTrans" cxnId="{20643EDF-4C9F-4300-B601-8DF891267CBA}">
      <dgm:prSet/>
      <dgm:spPr/>
      <dgm:t>
        <a:bodyPr/>
        <a:lstStyle/>
        <a:p>
          <a:endParaRPr lang="de-DE"/>
        </a:p>
      </dgm:t>
    </dgm:pt>
    <dgm:pt modelId="{6A6DBB91-121A-44ED-A3C7-1A0D7C7B464F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Praxisanleitung</a:t>
          </a:r>
        </a:p>
      </dgm:t>
    </dgm:pt>
    <dgm:pt modelId="{C0125A16-9550-431D-9E6F-C2CED413D387}" type="parTrans" cxnId="{12C01EC8-802A-4ABE-9ABD-1C3DDC49B076}">
      <dgm:prSet/>
      <dgm:spPr/>
      <dgm:t>
        <a:bodyPr/>
        <a:lstStyle/>
        <a:p>
          <a:endParaRPr lang="de-DE"/>
        </a:p>
      </dgm:t>
    </dgm:pt>
    <dgm:pt modelId="{FE729AD9-00EE-4E93-B37E-730C1CF3D051}" type="sibTrans" cxnId="{12C01EC8-802A-4ABE-9ABD-1C3DDC49B076}">
      <dgm:prSet/>
      <dgm:spPr/>
      <dgm:t>
        <a:bodyPr/>
        <a:lstStyle/>
        <a:p>
          <a:endParaRPr lang="de-DE"/>
        </a:p>
      </dgm:t>
    </dgm:pt>
    <dgm:pt modelId="{843ABF95-D5B0-46C2-B5E2-F2F809E9BFF0}">
      <dgm:prSet phldrT="[Text]" custT="1"/>
      <dgm:spPr/>
      <dgm:t>
        <a:bodyPr/>
        <a:lstStyle/>
        <a:p>
          <a:r>
            <a:rPr lang="de-DE" sz="1600" b="0" dirty="0">
              <a:solidFill>
                <a:schemeClr val="tx1"/>
              </a:solidFill>
            </a:rPr>
            <a:t>Erstgespräch</a:t>
          </a:r>
        </a:p>
      </dgm:t>
    </dgm:pt>
    <dgm:pt modelId="{8CE07280-BFD1-41BD-B6C9-CE490B7D797A}" type="parTrans" cxnId="{DC21B9AC-15FD-4578-B4E8-1342757C299E}">
      <dgm:prSet/>
      <dgm:spPr/>
      <dgm:t>
        <a:bodyPr/>
        <a:lstStyle/>
        <a:p>
          <a:endParaRPr lang="de-DE"/>
        </a:p>
      </dgm:t>
    </dgm:pt>
    <dgm:pt modelId="{4B51EEBC-78F2-4585-A48E-48E24DA64D5F}" type="sibTrans" cxnId="{DC21B9AC-15FD-4578-B4E8-1342757C299E}">
      <dgm:prSet/>
      <dgm:spPr/>
      <dgm:t>
        <a:bodyPr/>
        <a:lstStyle/>
        <a:p>
          <a:endParaRPr lang="de-DE"/>
        </a:p>
      </dgm:t>
    </dgm:pt>
    <dgm:pt modelId="{48BFEC05-894B-4F10-84A5-48C42DFC4413}">
      <dgm:prSet phldrT="[Text]" custT="1"/>
      <dgm:spPr/>
      <dgm:t>
        <a:bodyPr/>
        <a:lstStyle/>
        <a:p>
          <a:r>
            <a:rPr lang="de-DE" sz="1600" b="0" dirty="0">
              <a:solidFill>
                <a:schemeClr val="tx1"/>
              </a:solidFill>
            </a:rPr>
            <a:t>Zwischengespräch</a:t>
          </a:r>
        </a:p>
      </dgm:t>
    </dgm:pt>
    <dgm:pt modelId="{D22DA816-72C7-437C-B0F7-D99AA80F4CC1}" type="parTrans" cxnId="{619B045A-39EB-4EA5-A06C-A3696D972E49}">
      <dgm:prSet/>
      <dgm:spPr/>
      <dgm:t>
        <a:bodyPr/>
        <a:lstStyle/>
        <a:p>
          <a:endParaRPr lang="de-DE"/>
        </a:p>
      </dgm:t>
    </dgm:pt>
    <dgm:pt modelId="{4BA0137A-50A7-40C5-B3DD-EC097B1AC0F9}" type="sibTrans" cxnId="{619B045A-39EB-4EA5-A06C-A3696D972E49}">
      <dgm:prSet/>
      <dgm:spPr/>
      <dgm:t>
        <a:bodyPr/>
        <a:lstStyle/>
        <a:p>
          <a:endParaRPr lang="de-DE"/>
        </a:p>
      </dgm:t>
    </dgm:pt>
    <dgm:pt modelId="{B8168DB8-2278-405B-A9E4-7FFEC6948D0C}">
      <dgm:prSet phldrT="[Text]" custT="1"/>
      <dgm:spPr/>
      <dgm:t>
        <a:bodyPr/>
        <a:lstStyle/>
        <a:p>
          <a:r>
            <a:rPr lang="de-DE" sz="1600" b="0" dirty="0">
              <a:solidFill>
                <a:schemeClr val="tx1"/>
              </a:solidFill>
            </a:rPr>
            <a:t>Abschlussgespräch</a:t>
          </a:r>
        </a:p>
      </dgm:t>
    </dgm:pt>
    <dgm:pt modelId="{FE4C26D3-F0DB-4608-83A9-5985C6547B02}" type="parTrans" cxnId="{F783B662-B0EF-49C4-9148-1CCDE1DF9BA7}">
      <dgm:prSet/>
      <dgm:spPr/>
      <dgm:t>
        <a:bodyPr/>
        <a:lstStyle/>
        <a:p>
          <a:endParaRPr lang="de-DE"/>
        </a:p>
      </dgm:t>
    </dgm:pt>
    <dgm:pt modelId="{880397D7-B277-4C6C-B813-0803EFB42C33}" type="sibTrans" cxnId="{F783B662-B0EF-49C4-9148-1CCDE1DF9BA7}">
      <dgm:prSet/>
      <dgm:spPr/>
      <dgm:t>
        <a:bodyPr/>
        <a:lstStyle/>
        <a:p>
          <a:endParaRPr lang="de-DE"/>
        </a:p>
      </dgm:t>
    </dgm:pt>
    <dgm:pt modelId="{FE0A43D9-19B5-4A03-9B76-12B9A5FE5E2B}" type="pres">
      <dgm:prSet presAssocID="{676971CD-FFA3-47FF-A0B2-4D5F5A87DD3F}" presName="Name0" presStyleCnt="0">
        <dgm:presLayoutVars>
          <dgm:dir/>
          <dgm:animLvl val="lvl"/>
          <dgm:resizeHandles val="exact"/>
        </dgm:presLayoutVars>
      </dgm:prSet>
      <dgm:spPr/>
    </dgm:pt>
    <dgm:pt modelId="{7DD70275-AA63-4145-866C-515EF15D5065}" type="pres">
      <dgm:prSet presAssocID="{6A6DBB91-121A-44ED-A3C7-1A0D7C7B464F}" presName="boxAndChildren" presStyleCnt="0"/>
      <dgm:spPr/>
    </dgm:pt>
    <dgm:pt modelId="{E73CF6CF-B087-4BE7-AFAB-E4F5D0843FFD}" type="pres">
      <dgm:prSet presAssocID="{6A6DBB91-121A-44ED-A3C7-1A0D7C7B464F}" presName="parentTextBox" presStyleLbl="node1" presStyleIdx="0" presStyleCnt="3"/>
      <dgm:spPr/>
    </dgm:pt>
    <dgm:pt modelId="{238BD005-6E68-4596-AD7A-92C0F6A0B2DF}" type="pres">
      <dgm:prSet presAssocID="{6A6DBB91-121A-44ED-A3C7-1A0D7C7B464F}" presName="entireBox" presStyleLbl="node1" presStyleIdx="0" presStyleCnt="3"/>
      <dgm:spPr/>
    </dgm:pt>
    <dgm:pt modelId="{70CDFA2A-6F41-4B45-8871-F27CF5E7AA1C}" type="pres">
      <dgm:prSet presAssocID="{6A6DBB91-121A-44ED-A3C7-1A0D7C7B464F}" presName="descendantBox" presStyleCnt="0"/>
      <dgm:spPr/>
    </dgm:pt>
    <dgm:pt modelId="{B10772BB-126D-4499-8773-0DAD68B1B1AA}" type="pres">
      <dgm:prSet presAssocID="{79F58F1A-93B7-47E9-BEFE-46BEEE684640}" presName="childTextBox" presStyleLbl="fgAccFollowNode1" presStyleIdx="0" presStyleCnt="8">
        <dgm:presLayoutVars>
          <dgm:bulletEnabled val="1"/>
        </dgm:presLayoutVars>
      </dgm:prSet>
      <dgm:spPr/>
    </dgm:pt>
    <dgm:pt modelId="{D163A844-AFC0-427A-BEE0-DDBD3D0A3AE5}" type="pres">
      <dgm:prSet presAssocID="{BE7CE3D0-4757-41A4-A5E9-6CFD156035DC}" presName="childTextBox" presStyleLbl="fgAccFollowNode1" presStyleIdx="1" presStyleCnt="8">
        <dgm:presLayoutVars>
          <dgm:bulletEnabled val="1"/>
        </dgm:presLayoutVars>
      </dgm:prSet>
      <dgm:spPr/>
    </dgm:pt>
    <dgm:pt modelId="{84CC2E04-8A19-4856-94EF-D7A57687B732}" type="pres">
      <dgm:prSet presAssocID="{AC628005-016E-42D2-BD10-06F1FE080E6C}" presName="childTextBox" presStyleLbl="fgAccFollowNode1" presStyleIdx="2" presStyleCnt="8">
        <dgm:presLayoutVars>
          <dgm:bulletEnabled val="1"/>
        </dgm:presLayoutVars>
      </dgm:prSet>
      <dgm:spPr/>
    </dgm:pt>
    <dgm:pt modelId="{62B896BB-7355-49C7-A962-EE3618FFD167}" type="pres">
      <dgm:prSet presAssocID="{83199C06-1F34-4C66-B9BB-F1F4209346B9}" presName="childTextBox" presStyleLbl="fgAccFollowNode1" presStyleIdx="3" presStyleCnt="8">
        <dgm:presLayoutVars>
          <dgm:bulletEnabled val="1"/>
        </dgm:presLayoutVars>
      </dgm:prSet>
      <dgm:spPr/>
    </dgm:pt>
    <dgm:pt modelId="{CF2BCF8D-39F6-4662-AE6C-DFDBB11380A3}" type="pres">
      <dgm:prSet presAssocID="{8CBEACC9-439A-44E9-B928-AABD7BF7A431}" presName="childTextBox" presStyleLbl="fgAccFollowNode1" presStyleIdx="4" presStyleCnt="8">
        <dgm:presLayoutVars>
          <dgm:bulletEnabled val="1"/>
        </dgm:presLayoutVars>
      </dgm:prSet>
      <dgm:spPr/>
    </dgm:pt>
    <dgm:pt modelId="{A8A1BB44-92BC-46E6-B2A2-2C5BFA3967CB}" type="pres">
      <dgm:prSet presAssocID="{5089C3CF-537E-4258-8991-EEA35587E7C9}" presName="sp" presStyleCnt="0"/>
      <dgm:spPr/>
    </dgm:pt>
    <dgm:pt modelId="{EFA47D3C-FE53-4B72-BABD-0C01C1FAC95F}" type="pres">
      <dgm:prSet presAssocID="{26231EF9-6FAD-4BE5-A7E2-ED8175DAA09E}" presName="arrowAndChildren" presStyleCnt="0"/>
      <dgm:spPr/>
    </dgm:pt>
    <dgm:pt modelId="{C75569B1-3520-4C2A-BFF8-5456946AD069}" type="pres">
      <dgm:prSet presAssocID="{26231EF9-6FAD-4BE5-A7E2-ED8175DAA09E}" presName="parentTextArrow" presStyleLbl="node1" presStyleIdx="0" presStyleCnt="3"/>
      <dgm:spPr/>
    </dgm:pt>
    <dgm:pt modelId="{DAFE956A-B514-49DC-9499-3BE915EC3465}" type="pres">
      <dgm:prSet presAssocID="{26231EF9-6FAD-4BE5-A7E2-ED8175DAA09E}" presName="arrow" presStyleLbl="node1" presStyleIdx="1" presStyleCnt="3"/>
      <dgm:spPr/>
    </dgm:pt>
    <dgm:pt modelId="{6A805284-B1C8-4174-999D-6A64A7AD8CCE}" type="pres">
      <dgm:prSet presAssocID="{26231EF9-6FAD-4BE5-A7E2-ED8175DAA09E}" presName="descendantArrow" presStyleCnt="0"/>
      <dgm:spPr/>
    </dgm:pt>
    <dgm:pt modelId="{518719FA-A374-4E03-9637-3883504AD78F}" type="pres">
      <dgm:prSet presAssocID="{843ABF95-D5B0-46C2-B5E2-F2F809E9BFF0}" presName="childTextArrow" presStyleLbl="fgAccFollowNode1" presStyleIdx="5" presStyleCnt="8">
        <dgm:presLayoutVars>
          <dgm:bulletEnabled val="1"/>
        </dgm:presLayoutVars>
      </dgm:prSet>
      <dgm:spPr/>
    </dgm:pt>
    <dgm:pt modelId="{1377A2E7-FB76-4FB4-B53D-4506436E4DCC}" type="pres">
      <dgm:prSet presAssocID="{48BFEC05-894B-4F10-84A5-48C42DFC4413}" presName="childTextArrow" presStyleLbl="fgAccFollowNode1" presStyleIdx="6" presStyleCnt="8">
        <dgm:presLayoutVars>
          <dgm:bulletEnabled val="1"/>
        </dgm:presLayoutVars>
      </dgm:prSet>
      <dgm:spPr/>
    </dgm:pt>
    <dgm:pt modelId="{651654FB-2396-49CE-8E59-5CFD5ADF4552}" type="pres">
      <dgm:prSet presAssocID="{B8168DB8-2278-405B-A9E4-7FFEC6948D0C}" presName="childTextArrow" presStyleLbl="fgAccFollowNode1" presStyleIdx="7" presStyleCnt="8">
        <dgm:presLayoutVars>
          <dgm:bulletEnabled val="1"/>
        </dgm:presLayoutVars>
      </dgm:prSet>
      <dgm:spPr/>
    </dgm:pt>
    <dgm:pt modelId="{3D7E0437-9BA1-4A34-8C66-5B9E362956B4}" type="pres">
      <dgm:prSet presAssocID="{5F02335C-F904-40CA-B6CE-CCD571DEF777}" presName="sp" presStyleCnt="0"/>
      <dgm:spPr/>
    </dgm:pt>
    <dgm:pt modelId="{7AA6F885-DCC9-4B72-838A-8D9C6E860F83}" type="pres">
      <dgm:prSet presAssocID="{E53A7919-813C-4D12-B241-A23BDB37CED7}" presName="arrowAndChildren" presStyleCnt="0"/>
      <dgm:spPr/>
    </dgm:pt>
    <dgm:pt modelId="{206E2217-65CD-4204-A3C0-953503D72348}" type="pres">
      <dgm:prSet presAssocID="{E53A7919-813C-4D12-B241-A23BDB37CED7}" presName="parentTextArrow" presStyleLbl="node1" presStyleIdx="2" presStyleCnt="3"/>
      <dgm:spPr/>
    </dgm:pt>
  </dgm:ptLst>
  <dgm:cxnLst>
    <dgm:cxn modelId="{2437A614-F833-4E2B-9ED7-D4DCB601A7AC}" type="presOf" srcId="{843ABF95-D5B0-46C2-B5E2-F2F809E9BFF0}" destId="{518719FA-A374-4E03-9637-3883504AD78F}" srcOrd="0" destOrd="0" presId="urn:microsoft.com/office/officeart/2005/8/layout/process4"/>
    <dgm:cxn modelId="{3EE84C21-4B98-4030-88F0-8699D5AF839B}" srcId="{6A6DBB91-121A-44ED-A3C7-1A0D7C7B464F}" destId="{BE7CE3D0-4757-41A4-A5E9-6CFD156035DC}" srcOrd="1" destOrd="0" parTransId="{D9F820F8-2FCB-4EA1-8CF8-8F4DA32336C7}" sibTransId="{41A068AD-B061-4FD9-A1F7-2F1B15283B56}"/>
    <dgm:cxn modelId="{1E5D432B-CBFB-4F08-9620-2C66F8E41D3F}" type="presOf" srcId="{E53A7919-813C-4D12-B241-A23BDB37CED7}" destId="{206E2217-65CD-4204-A3C0-953503D72348}" srcOrd="0" destOrd="0" presId="urn:microsoft.com/office/officeart/2005/8/layout/process4"/>
    <dgm:cxn modelId="{F53B9B33-B1CF-4E50-89AD-19428A1ADF46}" type="presOf" srcId="{26231EF9-6FAD-4BE5-A7E2-ED8175DAA09E}" destId="{DAFE956A-B514-49DC-9499-3BE915EC3465}" srcOrd="1" destOrd="0" presId="urn:microsoft.com/office/officeart/2005/8/layout/process4"/>
    <dgm:cxn modelId="{5B9ED63D-C58A-4A30-B3BE-0FFCE30DD0F2}" type="presOf" srcId="{6A6DBB91-121A-44ED-A3C7-1A0D7C7B464F}" destId="{E73CF6CF-B087-4BE7-AFAB-E4F5D0843FFD}" srcOrd="0" destOrd="0" presId="urn:microsoft.com/office/officeart/2005/8/layout/process4"/>
    <dgm:cxn modelId="{C480A260-120E-4D2A-B8D9-DEE99B2DB579}" type="presOf" srcId="{B8168DB8-2278-405B-A9E4-7FFEC6948D0C}" destId="{651654FB-2396-49CE-8E59-5CFD5ADF4552}" srcOrd="0" destOrd="0" presId="urn:microsoft.com/office/officeart/2005/8/layout/process4"/>
    <dgm:cxn modelId="{F783B662-B0EF-49C4-9148-1CCDE1DF9BA7}" srcId="{26231EF9-6FAD-4BE5-A7E2-ED8175DAA09E}" destId="{B8168DB8-2278-405B-A9E4-7FFEC6948D0C}" srcOrd="2" destOrd="0" parTransId="{FE4C26D3-F0DB-4608-83A9-5985C6547B02}" sibTransId="{880397D7-B277-4C6C-B813-0803EFB42C33}"/>
    <dgm:cxn modelId="{711C9C46-38C2-44FF-91BF-64563B6A8EB8}" srcId="{6A6DBB91-121A-44ED-A3C7-1A0D7C7B464F}" destId="{AC628005-016E-42D2-BD10-06F1FE080E6C}" srcOrd="2" destOrd="0" parTransId="{198F3706-15E9-4D93-AFC7-1EE4937525F2}" sibTransId="{AD39AE5B-2518-482C-ADF7-D103F610A363}"/>
    <dgm:cxn modelId="{43069D68-0D81-4D35-AA44-36440DC7B901}" srcId="{6A6DBB91-121A-44ED-A3C7-1A0D7C7B464F}" destId="{79F58F1A-93B7-47E9-BEFE-46BEEE684640}" srcOrd="0" destOrd="0" parTransId="{8E6AA594-937B-4A95-90C2-3843900A7D49}" sibTransId="{49505FC8-E669-49BE-90DE-86A93943A064}"/>
    <dgm:cxn modelId="{DE35BC54-FDF8-4AA8-92C1-1D46F45D8814}" type="presOf" srcId="{6A6DBB91-121A-44ED-A3C7-1A0D7C7B464F}" destId="{238BD005-6E68-4596-AD7A-92C0F6A0B2DF}" srcOrd="1" destOrd="0" presId="urn:microsoft.com/office/officeart/2005/8/layout/process4"/>
    <dgm:cxn modelId="{A9CAEC76-E27E-4DBC-97A5-A946A34D437F}" srcId="{676971CD-FFA3-47FF-A0B2-4D5F5A87DD3F}" destId="{E53A7919-813C-4D12-B241-A23BDB37CED7}" srcOrd="0" destOrd="0" parTransId="{1E1E9F68-BCD8-492A-B754-79F3857B6F46}" sibTransId="{5F02335C-F904-40CA-B6CE-CCD571DEF777}"/>
    <dgm:cxn modelId="{81A28E57-0ACA-42DB-92DB-5D748E41A551}" srcId="{6A6DBB91-121A-44ED-A3C7-1A0D7C7B464F}" destId="{83199C06-1F34-4C66-B9BB-F1F4209346B9}" srcOrd="3" destOrd="0" parTransId="{6268EED5-181B-43A0-84B6-59EF7ED0AA9A}" sibTransId="{700105DD-6F0D-47AE-B181-A288090E0B01}"/>
    <dgm:cxn modelId="{619B045A-39EB-4EA5-A06C-A3696D972E49}" srcId="{26231EF9-6FAD-4BE5-A7E2-ED8175DAA09E}" destId="{48BFEC05-894B-4F10-84A5-48C42DFC4413}" srcOrd="1" destOrd="0" parTransId="{D22DA816-72C7-437C-B0F7-D99AA80F4CC1}" sibTransId="{4BA0137A-50A7-40C5-B3DD-EC097B1AC0F9}"/>
    <dgm:cxn modelId="{7350AD87-83F8-4658-81AE-A210E6F451CD}" type="presOf" srcId="{676971CD-FFA3-47FF-A0B2-4D5F5A87DD3F}" destId="{FE0A43D9-19B5-4A03-9B76-12B9A5FE5E2B}" srcOrd="0" destOrd="0" presId="urn:microsoft.com/office/officeart/2005/8/layout/process4"/>
    <dgm:cxn modelId="{B5060196-AD69-4FAF-9F50-856A4DB62455}" type="presOf" srcId="{48BFEC05-894B-4F10-84A5-48C42DFC4413}" destId="{1377A2E7-FB76-4FB4-B53D-4506436E4DCC}" srcOrd="0" destOrd="0" presId="urn:microsoft.com/office/officeart/2005/8/layout/process4"/>
    <dgm:cxn modelId="{DF5429A3-B8EA-4CDD-A7AC-6A37254D4D27}" type="presOf" srcId="{83199C06-1F34-4C66-B9BB-F1F4209346B9}" destId="{62B896BB-7355-49C7-A962-EE3618FFD167}" srcOrd="0" destOrd="0" presId="urn:microsoft.com/office/officeart/2005/8/layout/process4"/>
    <dgm:cxn modelId="{B9D43BA4-ABA4-48CC-803C-1AF59A5D5C41}" type="presOf" srcId="{8CBEACC9-439A-44E9-B928-AABD7BF7A431}" destId="{CF2BCF8D-39F6-4662-AE6C-DFDBB11380A3}" srcOrd="0" destOrd="0" presId="urn:microsoft.com/office/officeart/2005/8/layout/process4"/>
    <dgm:cxn modelId="{DC21B9AC-15FD-4578-B4E8-1342757C299E}" srcId="{26231EF9-6FAD-4BE5-A7E2-ED8175DAA09E}" destId="{843ABF95-D5B0-46C2-B5E2-F2F809E9BFF0}" srcOrd="0" destOrd="0" parTransId="{8CE07280-BFD1-41BD-B6C9-CE490B7D797A}" sibTransId="{4B51EEBC-78F2-4585-A48E-48E24DA64D5F}"/>
    <dgm:cxn modelId="{7A042EB7-B3DC-4BD8-9D9A-0C6A738D53D5}" type="presOf" srcId="{79F58F1A-93B7-47E9-BEFE-46BEEE684640}" destId="{B10772BB-126D-4499-8773-0DAD68B1B1AA}" srcOrd="0" destOrd="0" presId="urn:microsoft.com/office/officeart/2005/8/layout/process4"/>
    <dgm:cxn modelId="{43B801C0-F09F-4EA2-9063-2CED7CBA5C91}" srcId="{6A6DBB91-121A-44ED-A3C7-1A0D7C7B464F}" destId="{8CBEACC9-439A-44E9-B928-AABD7BF7A431}" srcOrd="4" destOrd="0" parTransId="{8BAB0054-46E1-4BBE-BBF2-2892BB876B56}" sibTransId="{EA8507A5-4425-4FC9-8BC6-F1B99F5A35F1}"/>
    <dgm:cxn modelId="{6B07D7C6-9066-4662-BCE9-C8C8E261DAC6}" type="presOf" srcId="{BE7CE3D0-4757-41A4-A5E9-6CFD156035DC}" destId="{D163A844-AFC0-427A-BEE0-DDBD3D0A3AE5}" srcOrd="0" destOrd="0" presId="urn:microsoft.com/office/officeart/2005/8/layout/process4"/>
    <dgm:cxn modelId="{17EC4EC7-56D7-43EC-A4A6-74276661D349}" type="presOf" srcId="{26231EF9-6FAD-4BE5-A7E2-ED8175DAA09E}" destId="{C75569B1-3520-4C2A-BFF8-5456946AD069}" srcOrd="0" destOrd="0" presId="urn:microsoft.com/office/officeart/2005/8/layout/process4"/>
    <dgm:cxn modelId="{12C01EC8-802A-4ABE-9ABD-1C3DDC49B076}" srcId="{676971CD-FFA3-47FF-A0B2-4D5F5A87DD3F}" destId="{6A6DBB91-121A-44ED-A3C7-1A0D7C7B464F}" srcOrd="2" destOrd="0" parTransId="{C0125A16-9550-431D-9E6F-C2CED413D387}" sibTransId="{FE729AD9-00EE-4E93-B37E-730C1CF3D051}"/>
    <dgm:cxn modelId="{20643EDF-4C9F-4300-B601-8DF891267CBA}" srcId="{676971CD-FFA3-47FF-A0B2-4D5F5A87DD3F}" destId="{26231EF9-6FAD-4BE5-A7E2-ED8175DAA09E}" srcOrd="1" destOrd="0" parTransId="{190BAD6F-5E7E-40DE-B2AC-9F20A43C6EF4}" sibTransId="{5089C3CF-537E-4258-8991-EEA35587E7C9}"/>
    <dgm:cxn modelId="{7F9B36F4-BBCD-4DED-9CE8-F27631D55EC7}" type="presOf" srcId="{AC628005-016E-42D2-BD10-06F1FE080E6C}" destId="{84CC2E04-8A19-4856-94EF-D7A57687B732}" srcOrd="0" destOrd="0" presId="urn:microsoft.com/office/officeart/2005/8/layout/process4"/>
    <dgm:cxn modelId="{EE5796AD-7A2D-4589-B461-10A482382611}" type="presParOf" srcId="{FE0A43D9-19B5-4A03-9B76-12B9A5FE5E2B}" destId="{7DD70275-AA63-4145-866C-515EF15D5065}" srcOrd="0" destOrd="0" presId="urn:microsoft.com/office/officeart/2005/8/layout/process4"/>
    <dgm:cxn modelId="{DD27B691-0119-4A34-8863-22CC02B63052}" type="presParOf" srcId="{7DD70275-AA63-4145-866C-515EF15D5065}" destId="{E73CF6CF-B087-4BE7-AFAB-E4F5D0843FFD}" srcOrd="0" destOrd="0" presId="urn:microsoft.com/office/officeart/2005/8/layout/process4"/>
    <dgm:cxn modelId="{6A68F99C-57D1-4540-B315-6E4E450D9744}" type="presParOf" srcId="{7DD70275-AA63-4145-866C-515EF15D5065}" destId="{238BD005-6E68-4596-AD7A-92C0F6A0B2DF}" srcOrd="1" destOrd="0" presId="urn:microsoft.com/office/officeart/2005/8/layout/process4"/>
    <dgm:cxn modelId="{161DD0A6-51CC-41A8-AA88-70185D269976}" type="presParOf" srcId="{7DD70275-AA63-4145-866C-515EF15D5065}" destId="{70CDFA2A-6F41-4B45-8871-F27CF5E7AA1C}" srcOrd="2" destOrd="0" presId="urn:microsoft.com/office/officeart/2005/8/layout/process4"/>
    <dgm:cxn modelId="{6E80330E-2403-4F90-A50A-3B9B265A7D1A}" type="presParOf" srcId="{70CDFA2A-6F41-4B45-8871-F27CF5E7AA1C}" destId="{B10772BB-126D-4499-8773-0DAD68B1B1AA}" srcOrd="0" destOrd="0" presId="urn:microsoft.com/office/officeart/2005/8/layout/process4"/>
    <dgm:cxn modelId="{5A7BFA2C-E692-4D6C-96A9-5FE986C67BA1}" type="presParOf" srcId="{70CDFA2A-6F41-4B45-8871-F27CF5E7AA1C}" destId="{D163A844-AFC0-427A-BEE0-DDBD3D0A3AE5}" srcOrd="1" destOrd="0" presId="urn:microsoft.com/office/officeart/2005/8/layout/process4"/>
    <dgm:cxn modelId="{358DDB6D-89B4-48B9-B1F9-DEF37EEE00CD}" type="presParOf" srcId="{70CDFA2A-6F41-4B45-8871-F27CF5E7AA1C}" destId="{84CC2E04-8A19-4856-94EF-D7A57687B732}" srcOrd="2" destOrd="0" presId="urn:microsoft.com/office/officeart/2005/8/layout/process4"/>
    <dgm:cxn modelId="{21F52F27-DC11-44DA-B04F-0DACC6B52D8C}" type="presParOf" srcId="{70CDFA2A-6F41-4B45-8871-F27CF5E7AA1C}" destId="{62B896BB-7355-49C7-A962-EE3618FFD167}" srcOrd="3" destOrd="0" presId="urn:microsoft.com/office/officeart/2005/8/layout/process4"/>
    <dgm:cxn modelId="{F726179E-ACEF-4258-9970-CE2B8B1ABE70}" type="presParOf" srcId="{70CDFA2A-6F41-4B45-8871-F27CF5E7AA1C}" destId="{CF2BCF8D-39F6-4662-AE6C-DFDBB11380A3}" srcOrd="4" destOrd="0" presId="urn:microsoft.com/office/officeart/2005/8/layout/process4"/>
    <dgm:cxn modelId="{DBA7C0E4-12D6-4F41-87C9-04CBBF089410}" type="presParOf" srcId="{FE0A43D9-19B5-4A03-9B76-12B9A5FE5E2B}" destId="{A8A1BB44-92BC-46E6-B2A2-2C5BFA3967CB}" srcOrd="1" destOrd="0" presId="urn:microsoft.com/office/officeart/2005/8/layout/process4"/>
    <dgm:cxn modelId="{92800F73-7BDA-4B4D-B4CE-F2E8E5319A04}" type="presParOf" srcId="{FE0A43D9-19B5-4A03-9B76-12B9A5FE5E2B}" destId="{EFA47D3C-FE53-4B72-BABD-0C01C1FAC95F}" srcOrd="2" destOrd="0" presId="urn:microsoft.com/office/officeart/2005/8/layout/process4"/>
    <dgm:cxn modelId="{67FEE91A-2D1A-405B-AA17-1D2C636B8D18}" type="presParOf" srcId="{EFA47D3C-FE53-4B72-BABD-0C01C1FAC95F}" destId="{C75569B1-3520-4C2A-BFF8-5456946AD069}" srcOrd="0" destOrd="0" presId="urn:microsoft.com/office/officeart/2005/8/layout/process4"/>
    <dgm:cxn modelId="{B135C1F8-F632-425C-B471-B0B97C8E97F1}" type="presParOf" srcId="{EFA47D3C-FE53-4B72-BABD-0C01C1FAC95F}" destId="{DAFE956A-B514-49DC-9499-3BE915EC3465}" srcOrd="1" destOrd="0" presId="urn:microsoft.com/office/officeart/2005/8/layout/process4"/>
    <dgm:cxn modelId="{A2A95728-C892-4EF2-8059-BCBBC0D12F37}" type="presParOf" srcId="{EFA47D3C-FE53-4B72-BABD-0C01C1FAC95F}" destId="{6A805284-B1C8-4174-999D-6A64A7AD8CCE}" srcOrd="2" destOrd="0" presId="urn:microsoft.com/office/officeart/2005/8/layout/process4"/>
    <dgm:cxn modelId="{CD0D9172-1518-4B64-BD69-DBEC091F456D}" type="presParOf" srcId="{6A805284-B1C8-4174-999D-6A64A7AD8CCE}" destId="{518719FA-A374-4E03-9637-3883504AD78F}" srcOrd="0" destOrd="0" presId="urn:microsoft.com/office/officeart/2005/8/layout/process4"/>
    <dgm:cxn modelId="{3224E919-7D75-4722-ADA8-17F4D5D52882}" type="presParOf" srcId="{6A805284-B1C8-4174-999D-6A64A7AD8CCE}" destId="{1377A2E7-FB76-4FB4-B53D-4506436E4DCC}" srcOrd="1" destOrd="0" presId="urn:microsoft.com/office/officeart/2005/8/layout/process4"/>
    <dgm:cxn modelId="{05B3E4A0-9E13-4249-BAB8-A0A7DB4A0BE7}" type="presParOf" srcId="{6A805284-B1C8-4174-999D-6A64A7AD8CCE}" destId="{651654FB-2396-49CE-8E59-5CFD5ADF4552}" srcOrd="2" destOrd="0" presId="urn:microsoft.com/office/officeart/2005/8/layout/process4"/>
    <dgm:cxn modelId="{DB62A156-544C-423C-BD30-FDA55C13BF44}" type="presParOf" srcId="{FE0A43D9-19B5-4A03-9B76-12B9A5FE5E2B}" destId="{3D7E0437-9BA1-4A34-8C66-5B9E362956B4}" srcOrd="3" destOrd="0" presId="urn:microsoft.com/office/officeart/2005/8/layout/process4"/>
    <dgm:cxn modelId="{1249BBCF-4177-4C37-8AD5-83E1FD89C5BB}" type="presParOf" srcId="{FE0A43D9-19B5-4A03-9B76-12B9A5FE5E2B}" destId="{7AA6F885-DCC9-4B72-838A-8D9C6E860F83}" srcOrd="4" destOrd="0" presId="urn:microsoft.com/office/officeart/2005/8/layout/process4"/>
    <dgm:cxn modelId="{64046A76-36A9-4DBA-A752-CEFCEC29668B}" type="presParOf" srcId="{7AA6F885-DCC9-4B72-838A-8D9C6E860F83}" destId="{206E2217-65CD-4204-A3C0-953503D72348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76971CD-FFA3-47FF-A0B2-4D5F5A87DD3F}" type="doc">
      <dgm:prSet loTypeId="urn:microsoft.com/office/officeart/2005/8/layout/process4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E53A7919-813C-4D12-B241-A23BDB37CED7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de-DE" sz="1600" b="1" dirty="0">
              <a:solidFill>
                <a:schemeClr val="bg2"/>
              </a:solidFill>
            </a:rPr>
            <a:t>Kommunikation</a:t>
          </a:r>
        </a:p>
      </dgm:t>
    </dgm:pt>
    <dgm:pt modelId="{1E1E9F68-BCD8-492A-B754-79F3857B6F46}" type="parTrans" cxnId="{A9CAEC76-E27E-4DBC-97A5-A946A34D437F}">
      <dgm:prSet/>
      <dgm:spPr/>
      <dgm:t>
        <a:bodyPr/>
        <a:lstStyle/>
        <a:p>
          <a:endParaRPr lang="de-DE"/>
        </a:p>
      </dgm:t>
    </dgm:pt>
    <dgm:pt modelId="{5F02335C-F904-40CA-B6CE-CCD571DEF777}" type="sibTrans" cxnId="{A9CAEC76-E27E-4DBC-97A5-A946A34D437F}">
      <dgm:prSet/>
      <dgm:spPr/>
      <dgm:t>
        <a:bodyPr/>
        <a:lstStyle/>
        <a:p>
          <a:endParaRPr lang="de-DE"/>
        </a:p>
      </dgm:t>
    </dgm:pt>
    <dgm:pt modelId="{79F58F1A-93B7-47E9-BEFE-46BEEE684640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de-DE" sz="1600" dirty="0">
              <a:solidFill>
                <a:schemeClr val="bg2"/>
              </a:solidFill>
            </a:rPr>
            <a:t>Vorgespräch</a:t>
          </a:r>
        </a:p>
      </dgm:t>
    </dgm:pt>
    <dgm:pt modelId="{8E6AA594-937B-4A95-90C2-3843900A7D49}" type="parTrans" cxnId="{43069D68-0D81-4D35-AA44-36440DC7B901}">
      <dgm:prSet/>
      <dgm:spPr/>
      <dgm:t>
        <a:bodyPr/>
        <a:lstStyle/>
        <a:p>
          <a:endParaRPr lang="de-DE"/>
        </a:p>
      </dgm:t>
    </dgm:pt>
    <dgm:pt modelId="{49505FC8-E669-49BE-90DE-86A93943A064}" type="sibTrans" cxnId="{43069D68-0D81-4D35-AA44-36440DC7B901}">
      <dgm:prSet/>
      <dgm:spPr/>
      <dgm:t>
        <a:bodyPr/>
        <a:lstStyle/>
        <a:p>
          <a:endParaRPr lang="de-DE"/>
        </a:p>
      </dgm:t>
    </dgm:pt>
    <dgm:pt modelId="{BE7CE3D0-4757-41A4-A5E9-6CFD156035DC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de-DE" sz="1600" dirty="0">
              <a:solidFill>
                <a:schemeClr val="bg2"/>
              </a:solidFill>
            </a:rPr>
            <a:t>Feedback</a:t>
          </a:r>
        </a:p>
      </dgm:t>
    </dgm:pt>
    <dgm:pt modelId="{D9F820F8-2FCB-4EA1-8CF8-8F4DA32336C7}" type="parTrans" cxnId="{3EE84C21-4B98-4030-88F0-8699D5AF839B}">
      <dgm:prSet/>
      <dgm:spPr/>
      <dgm:t>
        <a:bodyPr/>
        <a:lstStyle/>
        <a:p>
          <a:endParaRPr lang="de-DE"/>
        </a:p>
      </dgm:t>
    </dgm:pt>
    <dgm:pt modelId="{41A068AD-B061-4FD9-A1F7-2F1B15283B56}" type="sibTrans" cxnId="{3EE84C21-4B98-4030-88F0-8699D5AF839B}">
      <dgm:prSet/>
      <dgm:spPr/>
      <dgm:t>
        <a:bodyPr/>
        <a:lstStyle/>
        <a:p>
          <a:endParaRPr lang="de-DE"/>
        </a:p>
      </dgm:t>
    </dgm:pt>
    <dgm:pt modelId="{AC628005-016E-42D2-BD10-06F1FE080E6C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de-DE" sz="1600" dirty="0">
              <a:solidFill>
                <a:schemeClr val="bg2"/>
              </a:solidFill>
            </a:rPr>
            <a:t>Nachgespräch</a:t>
          </a:r>
        </a:p>
      </dgm:t>
    </dgm:pt>
    <dgm:pt modelId="{198F3706-15E9-4D93-AFC7-1EE4937525F2}" type="parTrans" cxnId="{711C9C46-38C2-44FF-91BF-64563B6A8EB8}">
      <dgm:prSet/>
      <dgm:spPr/>
      <dgm:t>
        <a:bodyPr/>
        <a:lstStyle/>
        <a:p>
          <a:endParaRPr lang="de-DE"/>
        </a:p>
      </dgm:t>
    </dgm:pt>
    <dgm:pt modelId="{AD39AE5B-2518-482C-ADF7-D103F610A363}" type="sibTrans" cxnId="{711C9C46-38C2-44FF-91BF-64563B6A8EB8}">
      <dgm:prSet/>
      <dgm:spPr/>
      <dgm:t>
        <a:bodyPr/>
        <a:lstStyle/>
        <a:p>
          <a:endParaRPr lang="de-DE"/>
        </a:p>
      </dgm:t>
    </dgm:pt>
    <dgm:pt modelId="{83199C06-1F34-4C66-B9BB-F1F4209346B9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de-DE" sz="1600" dirty="0">
              <a:solidFill>
                <a:schemeClr val="bg2"/>
              </a:solidFill>
            </a:rPr>
            <a:t>Beurteilung</a:t>
          </a:r>
        </a:p>
      </dgm:t>
    </dgm:pt>
    <dgm:pt modelId="{6268EED5-181B-43A0-84B6-59EF7ED0AA9A}" type="parTrans" cxnId="{81A28E57-0ACA-42DB-92DB-5D748E41A551}">
      <dgm:prSet/>
      <dgm:spPr/>
      <dgm:t>
        <a:bodyPr/>
        <a:lstStyle/>
        <a:p>
          <a:endParaRPr lang="de-DE"/>
        </a:p>
      </dgm:t>
    </dgm:pt>
    <dgm:pt modelId="{700105DD-6F0D-47AE-B181-A288090E0B01}" type="sibTrans" cxnId="{81A28E57-0ACA-42DB-92DB-5D748E41A551}">
      <dgm:prSet/>
      <dgm:spPr/>
      <dgm:t>
        <a:bodyPr/>
        <a:lstStyle/>
        <a:p>
          <a:endParaRPr lang="de-DE"/>
        </a:p>
      </dgm:t>
    </dgm:pt>
    <dgm:pt modelId="{8CBEACC9-439A-44E9-B928-AABD7BF7A431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de-DE" sz="1600" dirty="0">
              <a:solidFill>
                <a:schemeClr val="bg2"/>
              </a:solidFill>
            </a:rPr>
            <a:t>Prüfung</a:t>
          </a:r>
        </a:p>
      </dgm:t>
    </dgm:pt>
    <dgm:pt modelId="{8BAB0054-46E1-4BBE-BBF2-2892BB876B56}" type="parTrans" cxnId="{43B801C0-F09F-4EA2-9063-2CED7CBA5C91}">
      <dgm:prSet/>
      <dgm:spPr/>
      <dgm:t>
        <a:bodyPr/>
        <a:lstStyle/>
        <a:p>
          <a:endParaRPr lang="de-DE"/>
        </a:p>
      </dgm:t>
    </dgm:pt>
    <dgm:pt modelId="{EA8507A5-4425-4FC9-8BC6-F1B99F5A35F1}" type="sibTrans" cxnId="{43B801C0-F09F-4EA2-9063-2CED7CBA5C91}">
      <dgm:prSet/>
      <dgm:spPr/>
      <dgm:t>
        <a:bodyPr/>
        <a:lstStyle/>
        <a:p>
          <a:endParaRPr lang="de-DE"/>
        </a:p>
      </dgm:t>
    </dgm:pt>
    <dgm:pt modelId="{26231EF9-6FAD-4BE5-A7E2-ED8175DAA09E}">
      <dgm:prSet phldrT="[Text]" custT="1"/>
      <dgm:spPr/>
      <dgm:t>
        <a:bodyPr/>
        <a:lstStyle/>
        <a:p>
          <a:r>
            <a:rPr lang="de-DE" sz="1600" b="1" dirty="0">
              <a:solidFill>
                <a:schemeClr val="tx1"/>
              </a:solidFill>
            </a:rPr>
            <a:t>Praktischer Einsatz</a:t>
          </a:r>
        </a:p>
      </dgm:t>
    </dgm:pt>
    <dgm:pt modelId="{190BAD6F-5E7E-40DE-B2AC-9F20A43C6EF4}" type="parTrans" cxnId="{20643EDF-4C9F-4300-B601-8DF891267CBA}">
      <dgm:prSet/>
      <dgm:spPr/>
      <dgm:t>
        <a:bodyPr/>
        <a:lstStyle/>
        <a:p>
          <a:endParaRPr lang="de-DE"/>
        </a:p>
      </dgm:t>
    </dgm:pt>
    <dgm:pt modelId="{5089C3CF-537E-4258-8991-EEA35587E7C9}" type="sibTrans" cxnId="{20643EDF-4C9F-4300-B601-8DF891267CBA}">
      <dgm:prSet/>
      <dgm:spPr/>
      <dgm:t>
        <a:bodyPr/>
        <a:lstStyle/>
        <a:p>
          <a:endParaRPr lang="de-DE"/>
        </a:p>
      </dgm:t>
    </dgm:pt>
    <dgm:pt modelId="{6A6DBB91-121A-44ED-A3C7-1A0D7C7B464F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de-DE" sz="1600" b="1" dirty="0">
              <a:solidFill>
                <a:schemeClr val="bg2"/>
              </a:solidFill>
            </a:rPr>
            <a:t>Praxisanleitung</a:t>
          </a:r>
        </a:p>
      </dgm:t>
    </dgm:pt>
    <dgm:pt modelId="{C0125A16-9550-431D-9E6F-C2CED413D387}" type="parTrans" cxnId="{12C01EC8-802A-4ABE-9ABD-1C3DDC49B076}">
      <dgm:prSet/>
      <dgm:spPr/>
      <dgm:t>
        <a:bodyPr/>
        <a:lstStyle/>
        <a:p>
          <a:endParaRPr lang="de-DE"/>
        </a:p>
      </dgm:t>
    </dgm:pt>
    <dgm:pt modelId="{FE729AD9-00EE-4E93-B37E-730C1CF3D051}" type="sibTrans" cxnId="{12C01EC8-802A-4ABE-9ABD-1C3DDC49B076}">
      <dgm:prSet/>
      <dgm:spPr/>
      <dgm:t>
        <a:bodyPr/>
        <a:lstStyle/>
        <a:p>
          <a:endParaRPr lang="de-DE"/>
        </a:p>
      </dgm:t>
    </dgm:pt>
    <dgm:pt modelId="{843ABF95-D5B0-46C2-B5E2-F2F809E9BFF0}">
      <dgm:prSet phldrT="[Text]" custT="1"/>
      <dgm:spPr/>
      <dgm:t>
        <a:bodyPr/>
        <a:lstStyle/>
        <a:p>
          <a:r>
            <a:rPr lang="de-DE" sz="1600" b="0" dirty="0">
              <a:solidFill>
                <a:schemeClr val="tx1"/>
              </a:solidFill>
            </a:rPr>
            <a:t>Erstgespräch</a:t>
          </a:r>
        </a:p>
      </dgm:t>
    </dgm:pt>
    <dgm:pt modelId="{8CE07280-BFD1-41BD-B6C9-CE490B7D797A}" type="parTrans" cxnId="{DC21B9AC-15FD-4578-B4E8-1342757C299E}">
      <dgm:prSet/>
      <dgm:spPr/>
      <dgm:t>
        <a:bodyPr/>
        <a:lstStyle/>
        <a:p>
          <a:endParaRPr lang="de-DE"/>
        </a:p>
      </dgm:t>
    </dgm:pt>
    <dgm:pt modelId="{4B51EEBC-78F2-4585-A48E-48E24DA64D5F}" type="sibTrans" cxnId="{DC21B9AC-15FD-4578-B4E8-1342757C299E}">
      <dgm:prSet/>
      <dgm:spPr/>
      <dgm:t>
        <a:bodyPr/>
        <a:lstStyle/>
        <a:p>
          <a:endParaRPr lang="de-DE"/>
        </a:p>
      </dgm:t>
    </dgm:pt>
    <dgm:pt modelId="{48BFEC05-894B-4F10-84A5-48C42DFC4413}">
      <dgm:prSet phldrT="[Text]" custT="1"/>
      <dgm:spPr/>
      <dgm:t>
        <a:bodyPr/>
        <a:lstStyle/>
        <a:p>
          <a:r>
            <a:rPr lang="de-DE" sz="1600" b="0" dirty="0">
              <a:solidFill>
                <a:schemeClr val="tx1"/>
              </a:solidFill>
            </a:rPr>
            <a:t>Zwischengespräch</a:t>
          </a:r>
        </a:p>
      </dgm:t>
    </dgm:pt>
    <dgm:pt modelId="{D22DA816-72C7-437C-B0F7-D99AA80F4CC1}" type="parTrans" cxnId="{619B045A-39EB-4EA5-A06C-A3696D972E49}">
      <dgm:prSet/>
      <dgm:spPr/>
      <dgm:t>
        <a:bodyPr/>
        <a:lstStyle/>
        <a:p>
          <a:endParaRPr lang="de-DE"/>
        </a:p>
      </dgm:t>
    </dgm:pt>
    <dgm:pt modelId="{4BA0137A-50A7-40C5-B3DD-EC097B1AC0F9}" type="sibTrans" cxnId="{619B045A-39EB-4EA5-A06C-A3696D972E49}">
      <dgm:prSet/>
      <dgm:spPr/>
      <dgm:t>
        <a:bodyPr/>
        <a:lstStyle/>
        <a:p>
          <a:endParaRPr lang="de-DE"/>
        </a:p>
      </dgm:t>
    </dgm:pt>
    <dgm:pt modelId="{B8168DB8-2278-405B-A9E4-7FFEC6948D0C}">
      <dgm:prSet phldrT="[Text]" custT="1"/>
      <dgm:spPr/>
      <dgm:t>
        <a:bodyPr/>
        <a:lstStyle/>
        <a:p>
          <a:r>
            <a:rPr lang="de-DE" sz="1600" b="0" dirty="0">
              <a:solidFill>
                <a:schemeClr val="tx1"/>
              </a:solidFill>
            </a:rPr>
            <a:t>Abschlussgespräch</a:t>
          </a:r>
        </a:p>
      </dgm:t>
    </dgm:pt>
    <dgm:pt modelId="{FE4C26D3-F0DB-4608-83A9-5985C6547B02}" type="parTrans" cxnId="{F783B662-B0EF-49C4-9148-1CCDE1DF9BA7}">
      <dgm:prSet/>
      <dgm:spPr/>
      <dgm:t>
        <a:bodyPr/>
        <a:lstStyle/>
        <a:p>
          <a:endParaRPr lang="de-DE"/>
        </a:p>
      </dgm:t>
    </dgm:pt>
    <dgm:pt modelId="{880397D7-B277-4C6C-B813-0803EFB42C33}" type="sibTrans" cxnId="{F783B662-B0EF-49C4-9148-1CCDE1DF9BA7}">
      <dgm:prSet/>
      <dgm:spPr/>
      <dgm:t>
        <a:bodyPr/>
        <a:lstStyle/>
        <a:p>
          <a:endParaRPr lang="de-DE"/>
        </a:p>
      </dgm:t>
    </dgm:pt>
    <dgm:pt modelId="{FE0A43D9-19B5-4A03-9B76-12B9A5FE5E2B}" type="pres">
      <dgm:prSet presAssocID="{676971CD-FFA3-47FF-A0B2-4D5F5A87DD3F}" presName="Name0" presStyleCnt="0">
        <dgm:presLayoutVars>
          <dgm:dir/>
          <dgm:animLvl val="lvl"/>
          <dgm:resizeHandles val="exact"/>
        </dgm:presLayoutVars>
      </dgm:prSet>
      <dgm:spPr/>
    </dgm:pt>
    <dgm:pt modelId="{7DD70275-AA63-4145-866C-515EF15D5065}" type="pres">
      <dgm:prSet presAssocID="{6A6DBB91-121A-44ED-A3C7-1A0D7C7B464F}" presName="boxAndChildren" presStyleCnt="0"/>
      <dgm:spPr/>
    </dgm:pt>
    <dgm:pt modelId="{E73CF6CF-B087-4BE7-AFAB-E4F5D0843FFD}" type="pres">
      <dgm:prSet presAssocID="{6A6DBB91-121A-44ED-A3C7-1A0D7C7B464F}" presName="parentTextBox" presStyleLbl="node1" presStyleIdx="0" presStyleCnt="3"/>
      <dgm:spPr/>
    </dgm:pt>
    <dgm:pt modelId="{238BD005-6E68-4596-AD7A-92C0F6A0B2DF}" type="pres">
      <dgm:prSet presAssocID="{6A6DBB91-121A-44ED-A3C7-1A0D7C7B464F}" presName="entireBox" presStyleLbl="node1" presStyleIdx="0" presStyleCnt="3"/>
      <dgm:spPr/>
    </dgm:pt>
    <dgm:pt modelId="{70CDFA2A-6F41-4B45-8871-F27CF5E7AA1C}" type="pres">
      <dgm:prSet presAssocID="{6A6DBB91-121A-44ED-A3C7-1A0D7C7B464F}" presName="descendantBox" presStyleCnt="0"/>
      <dgm:spPr/>
    </dgm:pt>
    <dgm:pt modelId="{B10772BB-126D-4499-8773-0DAD68B1B1AA}" type="pres">
      <dgm:prSet presAssocID="{79F58F1A-93B7-47E9-BEFE-46BEEE684640}" presName="childTextBox" presStyleLbl="fgAccFollowNode1" presStyleIdx="0" presStyleCnt="8">
        <dgm:presLayoutVars>
          <dgm:bulletEnabled val="1"/>
        </dgm:presLayoutVars>
      </dgm:prSet>
      <dgm:spPr/>
    </dgm:pt>
    <dgm:pt modelId="{D163A844-AFC0-427A-BEE0-DDBD3D0A3AE5}" type="pres">
      <dgm:prSet presAssocID="{BE7CE3D0-4757-41A4-A5E9-6CFD156035DC}" presName="childTextBox" presStyleLbl="fgAccFollowNode1" presStyleIdx="1" presStyleCnt="8">
        <dgm:presLayoutVars>
          <dgm:bulletEnabled val="1"/>
        </dgm:presLayoutVars>
      </dgm:prSet>
      <dgm:spPr/>
    </dgm:pt>
    <dgm:pt modelId="{84CC2E04-8A19-4856-94EF-D7A57687B732}" type="pres">
      <dgm:prSet presAssocID="{AC628005-016E-42D2-BD10-06F1FE080E6C}" presName="childTextBox" presStyleLbl="fgAccFollowNode1" presStyleIdx="2" presStyleCnt="8">
        <dgm:presLayoutVars>
          <dgm:bulletEnabled val="1"/>
        </dgm:presLayoutVars>
      </dgm:prSet>
      <dgm:spPr/>
    </dgm:pt>
    <dgm:pt modelId="{62B896BB-7355-49C7-A962-EE3618FFD167}" type="pres">
      <dgm:prSet presAssocID="{83199C06-1F34-4C66-B9BB-F1F4209346B9}" presName="childTextBox" presStyleLbl="fgAccFollowNode1" presStyleIdx="3" presStyleCnt="8">
        <dgm:presLayoutVars>
          <dgm:bulletEnabled val="1"/>
        </dgm:presLayoutVars>
      </dgm:prSet>
      <dgm:spPr/>
    </dgm:pt>
    <dgm:pt modelId="{CF2BCF8D-39F6-4662-AE6C-DFDBB11380A3}" type="pres">
      <dgm:prSet presAssocID="{8CBEACC9-439A-44E9-B928-AABD7BF7A431}" presName="childTextBox" presStyleLbl="fgAccFollowNode1" presStyleIdx="4" presStyleCnt="8">
        <dgm:presLayoutVars>
          <dgm:bulletEnabled val="1"/>
        </dgm:presLayoutVars>
      </dgm:prSet>
      <dgm:spPr/>
    </dgm:pt>
    <dgm:pt modelId="{A8A1BB44-92BC-46E6-B2A2-2C5BFA3967CB}" type="pres">
      <dgm:prSet presAssocID="{5089C3CF-537E-4258-8991-EEA35587E7C9}" presName="sp" presStyleCnt="0"/>
      <dgm:spPr/>
    </dgm:pt>
    <dgm:pt modelId="{EFA47D3C-FE53-4B72-BABD-0C01C1FAC95F}" type="pres">
      <dgm:prSet presAssocID="{26231EF9-6FAD-4BE5-A7E2-ED8175DAA09E}" presName="arrowAndChildren" presStyleCnt="0"/>
      <dgm:spPr/>
    </dgm:pt>
    <dgm:pt modelId="{C75569B1-3520-4C2A-BFF8-5456946AD069}" type="pres">
      <dgm:prSet presAssocID="{26231EF9-6FAD-4BE5-A7E2-ED8175DAA09E}" presName="parentTextArrow" presStyleLbl="node1" presStyleIdx="0" presStyleCnt="3"/>
      <dgm:spPr/>
    </dgm:pt>
    <dgm:pt modelId="{DAFE956A-B514-49DC-9499-3BE915EC3465}" type="pres">
      <dgm:prSet presAssocID="{26231EF9-6FAD-4BE5-A7E2-ED8175DAA09E}" presName="arrow" presStyleLbl="node1" presStyleIdx="1" presStyleCnt="3"/>
      <dgm:spPr/>
    </dgm:pt>
    <dgm:pt modelId="{6A805284-B1C8-4174-999D-6A64A7AD8CCE}" type="pres">
      <dgm:prSet presAssocID="{26231EF9-6FAD-4BE5-A7E2-ED8175DAA09E}" presName="descendantArrow" presStyleCnt="0"/>
      <dgm:spPr/>
    </dgm:pt>
    <dgm:pt modelId="{518719FA-A374-4E03-9637-3883504AD78F}" type="pres">
      <dgm:prSet presAssocID="{843ABF95-D5B0-46C2-B5E2-F2F809E9BFF0}" presName="childTextArrow" presStyleLbl="fgAccFollowNode1" presStyleIdx="5" presStyleCnt="8">
        <dgm:presLayoutVars>
          <dgm:bulletEnabled val="1"/>
        </dgm:presLayoutVars>
      </dgm:prSet>
      <dgm:spPr/>
    </dgm:pt>
    <dgm:pt modelId="{1377A2E7-FB76-4FB4-B53D-4506436E4DCC}" type="pres">
      <dgm:prSet presAssocID="{48BFEC05-894B-4F10-84A5-48C42DFC4413}" presName="childTextArrow" presStyleLbl="fgAccFollowNode1" presStyleIdx="6" presStyleCnt="8">
        <dgm:presLayoutVars>
          <dgm:bulletEnabled val="1"/>
        </dgm:presLayoutVars>
      </dgm:prSet>
      <dgm:spPr/>
    </dgm:pt>
    <dgm:pt modelId="{651654FB-2396-49CE-8E59-5CFD5ADF4552}" type="pres">
      <dgm:prSet presAssocID="{B8168DB8-2278-405B-A9E4-7FFEC6948D0C}" presName="childTextArrow" presStyleLbl="fgAccFollowNode1" presStyleIdx="7" presStyleCnt="8">
        <dgm:presLayoutVars>
          <dgm:bulletEnabled val="1"/>
        </dgm:presLayoutVars>
      </dgm:prSet>
      <dgm:spPr/>
    </dgm:pt>
    <dgm:pt modelId="{3D7E0437-9BA1-4A34-8C66-5B9E362956B4}" type="pres">
      <dgm:prSet presAssocID="{5F02335C-F904-40CA-B6CE-CCD571DEF777}" presName="sp" presStyleCnt="0"/>
      <dgm:spPr/>
    </dgm:pt>
    <dgm:pt modelId="{7AA6F885-DCC9-4B72-838A-8D9C6E860F83}" type="pres">
      <dgm:prSet presAssocID="{E53A7919-813C-4D12-B241-A23BDB37CED7}" presName="arrowAndChildren" presStyleCnt="0"/>
      <dgm:spPr/>
    </dgm:pt>
    <dgm:pt modelId="{206E2217-65CD-4204-A3C0-953503D72348}" type="pres">
      <dgm:prSet presAssocID="{E53A7919-813C-4D12-B241-A23BDB37CED7}" presName="parentTextArrow" presStyleLbl="node1" presStyleIdx="2" presStyleCnt="3"/>
      <dgm:spPr/>
    </dgm:pt>
  </dgm:ptLst>
  <dgm:cxnLst>
    <dgm:cxn modelId="{2437A614-F833-4E2B-9ED7-D4DCB601A7AC}" type="presOf" srcId="{843ABF95-D5B0-46C2-B5E2-F2F809E9BFF0}" destId="{518719FA-A374-4E03-9637-3883504AD78F}" srcOrd="0" destOrd="0" presId="urn:microsoft.com/office/officeart/2005/8/layout/process4"/>
    <dgm:cxn modelId="{3EE84C21-4B98-4030-88F0-8699D5AF839B}" srcId="{6A6DBB91-121A-44ED-A3C7-1A0D7C7B464F}" destId="{BE7CE3D0-4757-41A4-A5E9-6CFD156035DC}" srcOrd="1" destOrd="0" parTransId="{D9F820F8-2FCB-4EA1-8CF8-8F4DA32336C7}" sibTransId="{41A068AD-B061-4FD9-A1F7-2F1B15283B56}"/>
    <dgm:cxn modelId="{1E5D432B-CBFB-4F08-9620-2C66F8E41D3F}" type="presOf" srcId="{E53A7919-813C-4D12-B241-A23BDB37CED7}" destId="{206E2217-65CD-4204-A3C0-953503D72348}" srcOrd="0" destOrd="0" presId="urn:microsoft.com/office/officeart/2005/8/layout/process4"/>
    <dgm:cxn modelId="{F53B9B33-B1CF-4E50-89AD-19428A1ADF46}" type="presOf" srcId="{26231EF9-6FAD-4BE5-A7E2-ED8175DAA09E}" destId="{DAFE956A-B514-49DC-9499-3BE915EC3465}" srcOrd="1" destOrd="0" presId="urn:microsoft.com/office/officeart/2005/8/layout/process4"/>
    <dgm:cxn modelId="{5B9ED63D-C58A-4A30-B3BE-0FFCE30DD0F2}" type="presOf" srcId="{6A6DBB91-121A-44ED-A3C7-1A0D7C7B464F}" destId="{E73CF6CF-B087-4BE7-AFAB-E4F5D0843FFD}" srcOrd="0" destOrd="0" presId="urn:microsoft.com/office/officeart/2005/8/layout/process4"/>
    <dgm:cxn modelId="{C480A260-120E-4D2A-B8D9-DEE99B2DB579}" type="presOf" srcId="{B8168DB8-2278-405B-A9E4-7FFEC6948D0C}" destId="{651654FB-2396-49CE-8E59-5CFD5ADF4552}" srcOrd="0" destOrd="0" presId="urn:microsoft.com/office/officeart/2005/8/layout/process4"/>
    <dgm:cxn modelId="{F783B662-B0EF-49C4-9148-1CCDE1DF9BA7}" srcId="{26231EF9-6FAD-4BE5-A7E2-ED8175DAA09E}" destId="{B8168DB8-2278-405B-A9E4-7FFEC6948D0C}" srcOrd="2" destOrd="0" parTransId="{FE4C26D3-F0DB-4608-83A9-5985C6547B02}" sibTransId="{880397D7-B277-4C6C-B813-0803EFB42C33}"/>
    <dgm:cxn modelId="{711C9C46-38C2-44FF-91BF-64563B6A8EB8}" srcId="{6A6DBB91-121A-44ED-A3C7-1A0D7C7B464F}" destId="{AC628005-016E-42D2-BD10-06F1FE080E6C}" srcOrd="2" destOrd="0" parTransId="{198F3706-15E9-4D93-AFC7-1EE4937525F2}" sibTransId="{AD39AE5B-2518-482C-ADF7-D103F610A363}"/>
    <dgm:cxn modelId="{43069D68-0D81-4D35-AA44-36440DC7B901}" srcId="{6A6DBB91-121A-44ED-A3C7-1A0D7C7B464F}" destId="{79F58F1A-93B7-47E9-BEFE-46BEEE684640}" srcOrd="0" destOrd="0" parTransId="{8E6AA594-937B-4A95-90C2-3843900A7D49}" sibTransId="{49505FC8-E669-49BE-90DE-86A93943A064}"/>
    <dgm:cxn modelId="{DE35BC54-FDF8-4AA8-92C1-1D46F45D8814}" type="presOf" srcId="{6A6DBB91-121A-44ED-A3C7-1A0D7C7B464F}" destId="{238BD005-6E68-4596-AD7A-92C0F6A0B2DF}" srcOrd="1" destOrd="0" presId="urn:microsoft.com/office/officeart/2005/8/layout/process4"/>
    <dgm:cxn modelId="{A9CAEC76-E27E-4DBC-97A5-A946A34D437F}" srcId="{676971CD-FFA3-47FF-A0B2-4D5F5A87DD3F}" destId="{E53A7919-813C-4D12-B241-A23BDB37CED7}" srcOrd="0" destOrd="0" parTransId="{1E1E9F68-BCD8-492A-B754-79F3857B6F46}" sibTransId="{5F02335C-F904-40CA-B6CE-CCD571DEF777}"/>
    <dgm:cxn modelId="{81A28E57-0ACA-42DB-92DB-5D748E41A551}" srcId="{6A6DBB91-121A-44ED-A3C7-1A0D7C7B464F}" destId="{83199C06-1F34-4C66-B9BB-F1F4209346B9}" srcOrd="3" destOrd="0" parTransId="{6268EED5-181B-43A0-84B6-59EF7ED0AA9A}" sibTransId="{700105DD-6F0D-47AE-B181-A288090E0B01}"/>
    <dgm:cxn modelId="{619B045A-39EB-4EA5-A06C-A3696D972E49}" srcId="{26231EF9-6FAD-4BE5-A7E2-ED8175DAA09E}" destId="{48BFEC05-894B-4F10-84A5-48C42DFC4413}" srcOrd="1" destOrd="0" parTransId="{D22DA816-72C7-437C-B0F7-D99AA80F4CC1}" sibTransId="{4BA0137A-50A7-40C5-B3DD-EC097B1AC0F9}"/>
    <dgm:cxn modelId="{7350AD87-83F8-4658-81AE-A210E6F451CD}" type="presOf" srcId="{676971CD-FFA3-47FF-A0B2-4D5F5A87DD3F}" destId="{FE0A43D9-19B5-4A03-9B76-12B9A5FE5E2B}" srcOrd="0" destOrd="0" presId="urn:microsoft.com/office/officeart/2005/8/layout/process4"/>
    <dgm:cxn modelId="{B5060196-AD69-4FAF-9F50-856A4DB62455}" type="presOf" srcId="{48BFEC05-894B-4F10-84A5-48C42DFC4413}" destId="{1377A2E7-FB76-4FB4-B53D-4506436E4DCC}" srcOrd="0" destOrd="0" presId="urn:microsoft.com/office/officeart/2005/8/layout/process4"/>
    <dgm:cxn modelId="{DF5429A3-B8EA-4CDD-A7AC-6A37254D4D27}" type="presOf" srcId="{83199C06-1F34-4C66-B9BB-F1F4209346B9}" destId="{62B896BB-7355-49C7-A962-EE3618FFD167}" srcOrd="0" destOrd="0" presId="urn:microsoft.com/office/officeart/2005/8/layout/process4"/>
    <dgm:cxn modelId="{B9D43BA4-ABA4-48CC-803C-1AF59A5D5C41}" type="presOf" srcId="{8CBEACC9-439A-44E9-B928-AABD7BF7A431}" destId="{CF2BCF8D-39F6-4662-AE6C-DFDBB11380A3}" srcOrd="0" destOrd="0" presId="urn:microsoft.com/office/officeart/2005/8/layout/process4"/>
    <dgm:cxn modelId="{DC21B9AC-15FD-4578-B4E8-1342757C299E}" srcId="{26231EF9-6FAD-4BE5-A7E2-ED8175DAA09E}" destId="{843ABF95-D5B0-46C2-B5E2-F2F809E9BFF0}" srcOrd="0" destOrd="0" parTransId="{8CE07280-BFD1-41BD-B6C9-CE490B7D797A}" sibTransId="{4B51EEBC-78F2-4585-A48E-48E24DA64D5F}"/>
    <dgm:cxn modelId="{7A042EB7-B3DC-4BD8-9D9A-0C6A738D53D5}" type="presOf" srcId="{79F58F1A-93B7-47E9-BEFE-46BEEE684640}" destId="{B10772BB-126D-4499-8773-0DAD68B1B1AA}" srcOrd="0" destOrd="0" presId="urn:microsoft.com/office/officeart/2005/8/layout/process4"/>
    <dgm:cxn modelId="{43B801C0-F09F-4EA2-9063-2CED7CBA5C91}" srcId="{6A6DBB91-121A-44ED-A3C7-1A0D7C7B464F}" destId="{8CBEACC9-439A-44E9-B928-AABD7BF7A431}" srcOrd="4" destOrd="0" parTransId="{8BAB0054-46E1-4BBE-BBF2-2892BB876B56}" sibTransId="{EA8507A5-4425-4FC9-8BC6-F1B99F5A35F1}"/>
    <dgm:cxn modelId="{6B07D7C6-9066-4662-BCE9-C8C8E261DAC6}" type="presOf" srcId="{BE7CE3D0-4757-41A4-A5E9-6CFD156035DC}" destId="{D163A844-AFC0-427A-BEE0-DDBD3D0A3AE5}" srcOrd="0" destOrd="0" presId="urn:microsoft.com/office/officeart/2005/8/layout/process4"/>
    <dgm:cxn modelId="{17EC4EC7-56D7-43EC-A4A6-74276661D349}" type="presOf" srcId="{26231EF9-6FAD-4BE5-A7E2-ED8175DAA09E}" destId="{C75569B1-3520-4C2A-BFF8-5456946AD069}" srcOrd="0" destOrd="0" presId="urn:microsoft.com/office/officeart/2005/8/layout/process4"/>
    <dgm:cxn modelId="{12C01EC8-802A-4ABE-9ABD-1C3DDC49B076}" srcId="{676971CD-FFA3-47FF-A0B2-4D5F5A87DD3F}" destId="{6A6DBB91-121A-44ED-A3C7-1A0D7C7B464F}" srcOrd="2" destOrd="0" parTransId="{C0125A16-9550-431D-9E6F-C2CED413D387}" sibTransId="{FE729AD9-00EE-4E93-B37E-730C1CF3D051}"/>
    <dgm:cxn modelId="{20643EDF-4C9F-4300-B601-8DF891267CBA}" srcId="{676971CD-FFA3-47FF-A0B2-4D5F5A87DD3F}" destId="{26231EF9-6FAD-4BE5-A7E2-ED8175DAA09E}" srcOrd="1" destOrd="0" parTransId="{190BAD6F-5E7E-40DE-B2AC-9F20A43C6EF4}" sibTransId="{5089C3CF-537E-4258-8991-EEA35587E7C9}"/>
    <dgm:cxn modelId="{7F9B36F4-BBCD-4DED-9CE8-F27631D55EC7}" type="presOf" srcId="{AC628005-016E-42D2-BD10-06F1FE080E6C}" destId="{84CC2E04-8A19-4856-94EF-D7A57687B732}" srcOrd="0" destOrd="0" presId="urn:microsoft.com/office/officeart/2005/8/layout/process4"/>
    <dgm:cxn modelId="{EE5796AD-7A2D-4589-B461-10A482382611}" type="presParOf" srcId="{FE0A43D9-19B5-4A03-9B76-12B9A5FE5E2B}" destId="{7DD70275-AA63-4145-866C-515EF15D5065}" srcOrd="0" destOrd="0" presId="urn:microsoft.com/office/officeart/2005/8/layout/process4"/>
    <dgm:cxn modelId="{DD27B691-0119-4A34-8863-22CC02B63052}" type="presParOf" srcId="{7DD70275-AA63-4145-866C-515EF15D5065}" destId="{E73CF6CF-B087-4BE7-AFAB-E4F5D0843FFD}" srcOrd="0" destOrd="0" presId="urn:microsoft.com/office/officeart/2005/8/layout/process4"/>
    <dgm:cxn modelId="{6A68F99C-57D1-4540-B315-6E4E450D9744}" type="presParOf" srcId="{7DD70275-AA63-4145-866C-515EF15D5065}" destId="{238BD005-6E68-4596-AD7A-92C0F6A0B2DF}" srcOrd="1" destOrd="0" presId="urn:microsoft.com/office/officeart/2005/8/layout/process4"/>
    <dgm:cxn modelId="{161DD0A6-51CC-41A8-AA88-70185D269976}" type="presParOf" srcId="{7DD70275-AA63-4145-866C-515EF15D5065}" destId="{70CDFA2A-6F41-4B45-8871-F27CF5E7AA1C}" srcOrd="2" destOrd="0" presId="urn:microsoft.com/office/officeart/2005/8/layout/process4"/>
    <dgm:cxn modelId="{6E80330E-2403-4F90-A50A-3B9B265A7D1A}" type="presParOf" srcId="{70CDFA2A-6F41-4B45-8871-F27CF5E7AA1C}" destId="{B10772BB-126D-4499-8773-0DAD68B1B1AA}" srcOrd="0" destOrd="0" presId="urn:microsoft.com/office/officeart/2005/8/layout/process4"/>
    <dgm:cxn modelId="{5A7BFA2C-E692-4D6C-96A9-5FE986C67BA1}" type="presParOf" srcId="{70CDFA2A-6F41-4B45-8871-F27CF5E7AA1C}" destId="{D163A844-AFC0-427A-BEE0-DDBD3D0A3AE5}" srcOrd="1" destOrd="0" presId="urn:microsoft.com/office/officeart/2005/8/layout/process4"/>
    <dgm:cxn modelId="{358DDB6D-89B4-48B9-B1F9-DEF37EEE00CD}" type="presParOf" srcId="{70CDFA2A-6F41-4B45-8871-F27CF5E7AA1C}" destId="{84CC2E04-8A19-4856-94EF-D7A57687B732}" srcOrd="2" destOrd="0" presId="urn:microsoft.com/office/officeart/2005/8/layout/process4"/>
    <dgm:cxn modelId="{21F52F27-DC11-44DA-B04F-0DACC6B52D8C}" type="presParOf" srcId="{70CDFA2A-6F41-4B45-8871-F27CF5E7AA1C}" destId="{62B896BB-7355-49C7-A962-EE3618FFD167}" srcOrd="3" destOrd="0" presId="urn:microsoft.com/office/officeart/2005/8/layout/process4"/>
    <dgm:cxn modelId="{F726179E-ACEF-4258-9970-CE2B8B1ABE70}" type="presParOf" srcId="{70CDFA2A-6F41-4B45-8871-F27CF5E7AA1C}" destId="{CF2BCF8D-39F6-4662-AE6C-DFDBB11380A3}" srcOrd="4" destOrd="0" presId="urn:microsoft.com/office/officeart/2005/8/layout/process4"/>
    <dgm:cxn modelId="{DBA7C0E4-12D6-4F41-87C9-04CBBF089410}" type="presParOf" srcId="{FE0A43D9-19B5-4A03-9B76-12B9A5FE5E2B}" destId="{A8A1BB44-92BC-46E6-B2A2-2C5BFA3967CB}" srcOrd="1" destOrd="0" presId="urn:microsoft.com/office/officeart/2005/8/layout/process4"/>
    <dgm:cxn modelId="{92800F73-7BDA-4B4D-B4CE-F2E8E5319A04}" type="presParOf" srcId="{FE0A43D9-19B5-4A03-9B76-12B9A5FE5E2B}" destId="{EFA47D3C-FE53-4B72-BABD-0C01C1FAC95F}" srcOrd="2" destOrd="0" presId="urn:microsoft.com/office/officeart/2005/8/layout/process4"/>
    <dgm:cxn modelId="{67FEE91A-2D1A-405B-AA17-1D2C636B8D18}" type="presParOf" srcId="{EFA47D3C-FE53-4B72-BABD-0C01C1FAC95F}" destId="{C75569B1-3520-4C2A-BFF8-5456946AD069}" srcOrd="0" destOrd="0" presId="urn:microsoft.com/office/officeart/2005/8/layout/process4"/>
    <dgm:cxn modelId="{B135C1F8-F632-425C-B471-B0B97C8E97F1}" type="presParOf" srcId="{EFA47D3C-FE53-4B72-BABD-0C01C1FAC95F}" destId="{DAFE956A-B514-49DC-9499-3BE915EC3465}" srcOrd="1" destOrd="0" presId="urn:microsoft.com/office/officeart/2005/8/layout/process4"/>
    <dgm:cxn modelId="{A2A95728-C892-4EF2-8059-BCBBC0D12F37}" type="presParOf" srcId="{EFA47D3C-FE53-4B72-BABD-0C01C1FAC95F}" destId="{6A805284-B1C8-4174-999D-6A64A7AD8CCE}" srcOrd="2" destOrd="0" presId="urn:microsoft.com/office/officeart/2005/8/layout/process4"/>
    <dgm:cxn modelId="{CD0D9172-1518-4B64-BD69-DBEC091F456D}" type="presParOf" srcId="{6A805284-B1C8-4174-999D-6A64A7AD8CCE}" destId="{518719FA-A374-4E03-9637-3883504AD78F}" srcOrd="0" destOrd="0" presId="urn:microsoft.com/office/officeart/2005/8/layout/process4"/>
    <dgm:cxn modelId="{3224E919-7D75-4722-ADA8-17F4D5D52882}" type="presParOf" srcId="{6A805284-B1C8-4174-999D-6A64A7AD8CCE}" destId="{1377A2E7-FB76-4FB4-B53D-4506436E4DCC}" srcOrd="1" destOrd="0" presId="urn:microsoft.com/office/officeart/2005/8/layout/process4"/>
    <dgm:cxn modelId="{05B3E4A0-9E13-4249-BAB8-A0A7DB4A0BE7}" type="presParOf" srcId="{6A805284-B1C8-4174-999D-6A64A7AD8CCE}" destId="{651654FB-2396-49CE-8E59-5CFD5ADF4552}" srcOrd="2" destOrd="0" presId="urn:microsoft.com/office/officeart/2005/8/layout/process4"/>
    <dgm:cxn modelId="{DB62A156-544C-423C-BD30-FDA55C13BF44}" type="presParOf" srcId="{FE0A43D9-19B5-4A03-9B76-12B9A5FE5E2B}" destId="{3D7E0437-9BA1-4A34-8C66-5B9E362956B4}" srcOrd="3" destOrd="0" presId="urn:microsoft.com/office/officeart/2005/8/layout/process4"/>
    <dgm:cxn modelId="{1249BBCF-4177-4C37-8AD5-83E1FD89C5BB}" type="presParOf" srcId="{FE0A43D9-19B5-4A03-9B76-12B9A5FE5E2B}" destId="{7AA6F885-DCC9-4B72-838A-8D9C6E860F83}" srcOrd="4" destOrd="0" presId="urn:microsoft.com/office/officeart/2005/8/layout/process4"/>
    <dgm:cxn modelId="{64046A76-36A9-4DBA-A752-CEFCEC29668B}" type="presParOf" srcId="{7AA6F885-DCC9-4B72-838A-8D9C6E860F83}" destId="{206E2217-65CD-4204-A3C0-953503D72348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4C5FF32D-9E13-44AC-B7A8-D297265C7314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de-DE"/>
        </a:p>
      </dgm:t>
    </dgm:pt>
    <dgm:pt modelId="{2FD1A198-0004-4918-998A-036421F41CAD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Aktives Zuhören</a:t>
          </a:r>
        </a:p>
      </dgm:t>
    </dgm:pt>
    <dgm:pt modelId="{F42AA4BA-B461-4E0A-A143-1003D0B17AD0}" type="parTrans" cxnId="{C7358BBD-04E0-4038-9D22-26A432C23BDE}">
      <dgm:prSet/>
      <dgm:spPr/>
      <dgm:t>
        <a:bodyPr/>
        <a:lstStyle/>
        <a:p>
          <a:endParaRPr lang="de-DE"/>
        </a:p>
      </dgm:t>
    </dgm:pt>
    <dgm:pt modelId="{E6B2070B-2840-4443-BB5B-1FF17355897F}" type="sibTrans" cxnId="{C7358BBD-04E0-4038-9D22-26A432C23BDE}">
      <dgm:prSet/>
      <dgm:spPr/>
      <dgm:t>
        <a:bodyPr/>
        <a:lstStyle/>
        <a:p>
          <a:endParaRPr lang="de-DE"/>
        </a:p>
      </dgm:t>
    </dgm:pt>
    <dgm:pt modelId="{91B91616-FE54-48F8-8DC0-71EE4A191010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5 Axiome nach </a:t>
          </a:r>
          <a:r>
            <a:rPr lang="de-DE" sz="2000" dirty="0" err="1">
              <a:solidFill>
                <a:schemeClr val="tx1"/>
              </a:solidFill>
            </a:rPr>
            <a:t>Watzlawik</a:t>
          </a:r>
          <a:endParaRPr lang="de-DE" sz="2000" dirty="0">
            <a:solidFill>
              <a:schemeClr val="tx1"/>
            </a:solidFill>
          </a:endParaRPr>
        </a:p>
      </dgm:t>
    </dgm:pt>
    <dgm:pt modelId="{6A7C06D3-6FBD-4127-9F20-8249EFC4FBDA}" type="parTrans" cxnId="{53122082-47ED-4A69-98DA-EC8BDC6D4535}">
      <dgm:prSet/>
      <dgm:spPr/>
      <dgm:t>
        <a:bodyPr/>
        <a:lstStyle/>
        <a:p>
          <a:endParaRPr lang="de-DE"/>
        </a:p>
      </dgm:t>
    </dgm:pt>
    <dgm:pt modelId="{F4EEFB28-591F-472F-8348-369FE4C7DF11}" type="sibTrans" cxnId="{53122082-47ED-4A69-98DA-EC8BDC6D4535}">
      <dgm:prSet/>
      <dgm:spPr/>
      <dgm:t>
        <a:bodyPr/>
        <a:lstStyle/>
        <a:p>
          <a:endParaRPr lang="de-DE"/>
        </a:p>
      </dgm:t>
    </dgm:pt>
    <dgm:pt modelId="{14471FD4-1881-428C-B92A-E977453A3A3F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Sender-Empfänger Modell – Shannon / Weaver</a:t>
          </a:r>
        </a:p>
      </dgm:t>
    </dgm:pt>
    <dgm:pt modelId="{59303920-82AA-4494-B82A-717411637533}" type="parTrans" cxnId="{19D061E8-6EC2-469E-BC13-DEA2CAFC2874}">
      <dgm:prSet/>
      <dgm:spPr/>
      <dgm:t>
        <a:bodyPr/>
        <a:lstStyle/>
        <a:p>
          <a:endParaRPr lang="de-DE"/>
        </a:p>
      </dgm:t>
    </dgm:pt>
    <dgm:pt modelId="{F93FB19E-4DE5-4883-B272-4BBB1D8FC72A}" type="sibTrans" cxnId="{19D061E8-6EC2-469E-BC13-DEA2CAFC2874}">
      <dgm:prSet/>
      <dgm:spPr/>
      <dgm:t>
        <a:bodyPr/>
        <a:lstStyle/>
        <a:p>
          <a:endParaRPr lang="de-DE"/>
        </a:p>
      </dgm:t>
    </dgm:pt>
    <dgm:pt modelId="{A6BF05B0-7F73-4D7C-8314-B2B4CEB89C5F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…</a:t>
          </a:r>
        </a:p>
      </dgm:t>
    </dgm:pt>
    <dgm:pt modelId="{E0D5AF05-8764-4824-BE83-34C8EB5C2833}" type="parTrans" cxnId="{DA1E153D-84BF-4B08-89EE-F8488F77CCC3}">
      <dgm:prSet/>
      <dgm:spPr/>
      <dgm:t>
        <a:bodyPr/>
        <a:lstStyle/>
        <a:p>
          <a:endParaRPr lang="de-DE"/>
        </a:p>
      </dgm:t>
    </dgm:pt>
    <dgm:pt modelId="{F2BCBEB3-3F50-4E1B-BFFB-C7B3AE715A51}" type="sibTrans" cxnId="{DA1E153D-84BF-4B08-89EE-F8488F77CCC3}">
      <dgm:prSet/>
      <dgm:spPr/>
      <dgm:t>
        <a:bodyPr/>
        <a:lstStyle/>
        <a:p>
          <a:endParaRPr lang="de-DE"/>
        </a:p>
      </dgm:t>
    </dgm:pt>
    <dgm:pt modelId="{58D88A49-252F-46F6-9F71-D594650C7502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Kommunikationsquadrat – Schulz von Thun</a:t>
          </a:r>
        </a:p>
      </dgm:t>
    </dgm:pt>
    <dgm:pt modelId="{49968151-1CD8-4621-9B48-CFBA29520869}" type="parTrans" cxnId="{5C8EF731-B0A2-4F89-AF88-9E838D6BC81B}">
      <dgm:prSet/>
      <dgm:spPr/>
      <dgm:t>
        <a:bodyPr/>
        <a:lstStyle/>
        <a:p>
          <a:endParaRPr lang="de-DE"/>
        </a:p>
      </dgm:t>
    </dgm:pt>
    <dgm:pt modelId="{0C618E62-526C-4307-B53E-059829731901}" type="sibTrans" cxnId="{5C8EF731-B0A2-4F89-AF88-9E838D6BC81B}">
      <dgm:prSet/>
      <dgm:spPr/>
      <dgm:t>
        <a:bodyPr/>
        <a:lstStyle/>
        <a:p>
          <a:endParaRPr lang="de-DE"/>
        </a:p>
      </dgm:t>
    </dgm:pt>
    <dgm:pt modelId="{ABB649EF-8E43-463F-867D-2D366C13CEE2}">
      <dgm:prSet phldrT="[Text]" custT="1"/>
      <dgm:spPr/>
      <dgm:t>
        <a:bodyPr/>
        <a:lstStyle/>
        <a:p>
          <a:r>
            <a:rPr lang="de-DE" sz="2000" dirty="0">
              <a:solidFill>
                <a:schemeClr val="tx1"/>
              </a:solidFill>
            </a:rPr>
            <a:t>Johari-Fenster</a:t>
          </a:r>
        </a:p>
      </dgm:t>
    </dgm:pt>
    <dgm:pt modelId="{895F95F1-81B7-4F67-A234-FA61A63E7447}" type="parTrans" cxnId="{2D5E4D77-977D-4F56-8B22-D21249BAF1C7}">
      <dgm:prSet/>
      <dgm:spPr/>
      <dgm:t>
        <a:bodyPr/>
        <a:lstStyle/>
        <a:p>
          <a:endParaRPr lang="de-DE"/>
        </a:p>
      </dgm:t>
    </dgm:pt>
    <dgm:pt modelId="{E16FED89-48DF-40F1-AEFA-1194C40383EF}" type="sibTrans" cxnId="{2D5E4D77-977D-4F56-8B22-D21249BAF1C7}">
      <dgm:prSet/>
      <dgm:spPr/>
      <dgm:t>
        <a:bodyPr/>
        <a:lstStyle/>
        <a:p>
          <a:endParaRPr lang="de-DE"/>
        </a:p>
      </dgm:t>
    </dgm:pt>
    <dgm:pt modelId="{729E3C33-3F15-4928-969F-26B3F96A1096}" type="pres">
      <dgm:prSet presAssocID="{4C5FF32D-9E13-44AC-B7A8-D297265C7314}" presName="Name0" presStyleCnt="0">
        <dgm:presLayoutVars>
          <dgm:chMax val="7"/>
          <dgm:chPref val="7"/>
          <dgm:dir/>
        </dgm:presLayoutVars>
      </dgm:prSet>
      <dgm:spPr/>
    </dgm:pt>
    <dgm:pt modelId="{52654246-DC74-430F-9D20-1F2D0AE0D0DA}" type="pres">
      <dgm:prSet presAssocID="{4C5FF32D-9E13-44AC-B7A8-D297265C7314}" presName="Name1" presStyleCnt="0"/>
      <dgm:spPr/>
    </dgm:pt>
    <dgm:pt modelId="{B023E7DD-1B1E-4B2B-801F-797F4315A06C}" type="pres">
      <dgm:prSet presAssocID="{4C5FF32D-9E13-44AC-B7A8-D297265C7314}" presName="cycle" presStyleCnt="0"/>
      <dgm:spPr/>
    </dgm:pt>
    <dgm:pt modelId="{B1A5E23F-390C-455B-9219-EDA3155D41EF}" type="pres">
      <dgm:prSet presAssocID="{4C5FF32D-9E13-44AC-B7A8-D297265C7314}" presName="srcNode" presStyleLbl="node1" presStyleIdx="0" presStyleCnt="6"/>
      <dgm:spPr/>
    </dgm:pt>
    <dgm:pt modelId="{9D0C7E8A-1620-4DA5-BEBE-B6DBEBB9F16F}" type="pres">
      <dgm:prSet presAssocID="{4C5FF32D-9E13-44AC-B7A8-D297265C7314}" presName="conn" presStyleLbl="parChTrans1D2" presStyleIdx="0" presStyleCnt="1"/>
      <dgm:spPr/>
    </dgm:pt>
    <dgm:pt modelId="{2808B5BC-AE1D-4812-B679-CC88E88D6610}" type="pres">
      <dgm:prSet presAssocID="{4C5FF32D-9E13-44AC-B7A8-D297265C7314}" presName="extraNode" presStyleLbl="node1" presStyleIdx="0" presStyleCnt="6"/>
      <dgm:spPr/>
    </dgm:pt>
    <dgm:pt modelId="{11C8155A-D21F-43E1-8F87-8991F4B551C9}" type="pres">
      <dgm:prSet presAssocID="{4C5FF32D-9E13-44AC-B7A8-D297265C7314}" presName="dstNode" presStyleLbl="node1" presStyleIdx="0" presStyleCnt="6"/>
      <dgm:spPr/>
    </dgm:pt>
    <dgm:pt modelId="{6DAF88B6-BBE2-4B09-81DE-93ED4CA8BBFF}" type="pres">
      <dgm:prSet presAssocID="{2FD1A198-0004-4918-998A-036421F41CAD}" presName="text_1" presStyleLbl="node1" presStyleIdx="0" presStyleCnt="6">
        <dgm:presLayoutVars>
          <dgm:bulletEnabled val="1"/>
        </dgm:presLayoutVars>
      </dgm:prSet>
      <dgm:spPr/>
    </dgm:pt>
    <dgm:pt modelId="{ACE4AADA-295E-4BD3-9ADD-051B5505E816}" type="pres">
      <dgm:prSet presAssocID="{2FD1A198-0004-4918-998A-036421F41CAD}" presName="accent_1" presStyleCnt="0"/>
      <dgm:spPr/>
    </dgm:pt>
    <dgm:pt modelId="{C8F213C5-9F16-4466-8C0D-BC3BAE090B99}" type="pres">
      <dgm:prSet presAssocID="{2FD1A198-0004-4918-998A-036421F41CAD}" presName="accentRepeatNode" presStyleLbl="solidFgAcc1" presStyleIdx="0" presStyleCnt="6"/>
      <dgm:spPr/>
    </dgm:pt>
    <dgm:pt modelId="{A89491CA-5A6A-404E-8193-1B37983C49ED}" type="pres">
      <dgm:prSet presAssocID="{91B91616-FE54-48F8-8DC0-71EE4A191010}" presName="text_2" presStyleLbl="node1" presStyleIdx="1" presStyleCnt="6">
        <dgm:presLayoutVars>
          <dgm:bulletEnabled val="1"/>
        </dgm:presLayoutVars>
      </dgm:prSet>
      <dgm:spPr/>
    </dgm:pt>
    <dgm:pt modelId="{64E024E8-E799-4CB6-B00A-9D183B5E620F}" type="pres">
      <dgm:prSet presAssocID="{91B91616-FE54-48F8-8DC0-71EE4A191010}" presName="accent_2" presStyleCnt="0"/>
      <dgm:spPr/>
    </dgm:pt>
    <dgm:pt modelId="{3C3C5993-0F17-45B7-8A38-BED0218EFEF5}" type="pres">
      <dgm:prSet presAssocID="{91B91616-FE54-48F8-8DC0-71EE4A191010}" presName="accentRepeatNode" presStyleLbl="solidFgAcc1" presStyleIdx="1" presStyleCnt="6"/>
      <dgm:spPr/>
    </dgm:pt>
    <dgm:pt modelId="{9E7C4CD6-4381-4435-A852-220923B9DE3B}" type="pres">
      <dgm:prSet presAssocID="{14471FD4-1881-428C-B92A-E977453A3A3F}" presName="text_3" presStyleLbl="node1" presStyleIdx="2" presStyleCnt="6">
        <dgm:presLayoutVars>
          <dgm:bulletEnabled val="1"/>
        </dgm:presLayoutVars>
      </dgm:prSet>
      <dgm:spPr/>
    </dgm:pt>
    <dgm:pt modelId="{0B8F7F7B-D385-409B-B108-20873A0AB2F5}" type="pres">
      <dgm:prSet presAssocID="{14471FD4-1881-428C-B92A-E977453A3A3F}" presName="accent_3" presStyleCnt="0"/>
      <dgm:spPr/>
    </dgm:pt>
    <dgm:pt modelId="{09E25155-D001-4FCC-B0F0-906EE98E26FA}" type="pres">
      <dgm:prSet presAssocID="{14471FD4-1881-428C-B92A-E977453A3A3F}" presName="accentRepeatNode" presStyleLbl="solidFgAcc1" presStyleIdx="2" presStyleCnt="6"/>
      <dgm:spPr/>
    </dgm:pt>
    <dgm:pt modelId="{BA7F4F57-3F8A-4CB8-ACC4-97C98C6B11C5}" type="pres">
      <dgm:prSet presAssocID="{58D88A49-252F-46F6-9F71-D594650C7502}" presName="text_4" presStyleLbl="node1" presStyleIdx="3" presStyleCnt="6">
        <dgm:presLayoutVars>
          <dgm:bulletEnabled val="1"/>
        </dgm:presLayoutVars>
      </dgm:prSet>
      <dgm:spPr/>
    </dgm:pt>
    <dgm:pt modelId="{AD702FAA-1A20-4713-8A61-5F6AC22D8988}" type="pres">
      <dgm:prSet presAssocID="{58D88A49-252F-46F6-9F71-D594650C7502}" presName="accent_4" presStyleCnt="0"/>
      <dgm:spPr/>
    </dgm:pt>
    <dgm:pt modelId="{850F1105-1691-4C66-BC6A-6E2909201C31}" type="pres">
      <dgm:prSet presAssocID="{58D88A49-252F-46F6-9F71-D594650C7502}" presName="accentRepeatNode" presStyleLbl="solidFgAcc1" presStyleIdx="3" presStyleCnt="6"/>
      <dgm:spPr/>
    </dgm:pt>
    <dgm:pt modelId="{FEA8CF04-A4B1-4806-B1EA-EC5DD3E852E0}" type="pres">
      <dgm:prSet presAssocID="{ABB649EF-8E43-463F-867D-2D366C13CEE2}" presName="text_5" presStyleLbl="node1" presStyleIdx="4" presStyleCnt="6">
        <dgm:presLayoutVars>
          <dgm:bulletEnabled val="1"/>
        </dgm:presLayoutVars>
      </dgm:prSet>
      <dgm:spPr/>
    </dgm:pt>
    <dgm:pt modelId="{3B2111CD-F738-49CB-925C-54A3EA7DE9B5}" type="pres">
      <dgm:prSet presAssocID="{ABB649EF-8E43-463F-867D-2D366C13CEE2}" presName="accent_5" presStyleCnt="0"/>
      <dgm:spPr/>
    </dgm:pt>
    <dgm:pt modelId="{A744BE90-3E17-47F6-85BB-4128DC1F2A4C}" type="pres">
      <dgm:prSet presAssocID="{ABB649EF-8E43-463F-867D-2D366C13CEE2}" presName="accentRepeatNode" presStyleLbl="solidFgAcc1" presStyleIdx="4" presStyleCnt="6"/>
      <dgm:spPr/>
    </dgm:pt>
    <dgm:pt modelId="{9742E38F-3B45-40CE-865D-DA55F82020DC}" type="pres">
      <dgm:prSet presAssocID="{A6BF05B0-7F73-4D7C-8314-B2B4CEB89C5F}" presName="text_6" presStyleLbl="node1" presStyleIdx="5" presStyleCnt="6">
        <dgm:presLayoutVars>
          <dgm:bulletEnabled val="1"/>
        </dgm:presLayoutVars>
      </dgm:prSet>
      <dgm:spPr/>
    </dgm:pt>
    <dgm:pt modelId="{7EB7F454-05CD-4FF9-AAFD-B74A7D33EF71}" type="pres">
      <dgm:prSet presAssocID="{A6BF05B0-7F73-4D7C-8314-B2B4CEB89C5F}" presName="accent_6" presStyleCnt="0"/>
      <dgm:spPr/>
    </dgm:pt>
    <dgm:pt modelId="{CE23794F-5D82-4974-B625-D1EF7677F337}" type="pres">
      <dgm:prSet presAssocID="{A6BF05B0-7F73-4D7C-8314-B2B4CEB89C5F}" presName="accentRepeatNode" presStyleLbl="solidFgAcc1" presStyleIdx="5" presStyleCnt="6"/>
      <dgm:spPr/>
    </dgm:pt>
  </dgm:ptLst>
  <dgm:cxnLst>
    <dgm:cxn modelId="{C7222A20-1969-4263-9C3A-372342266EC6}" type="presOf" srcId="{4C5FF32D-9E13-44AC-B7A8-D297265C7314}" destId="{729E3C33-3F15-4928-969F-26B3F96A1096}" srcOrd="0" destOrd="0" presId="urn:microsoft.com/office/officeart/2008/layout/VerticalCurvedList"/>
    <dgm:cxn modelId="{5C8EF731-B0A2-4F89-AF88-9E838D6BC81B}" srcId="{4C5FF32D-9E13-44AC-B7A8-D297265C7314}" destId="{58D88A49-252F-46F6-9F71-D594650C7502}" srcOrd="3" destOrd="0" parTransId="{49968151-1CD8-4621-9B48-CFBA29520869}" sibTransId="{0C618E62-526C-4307-B53E-059829731901}"/>
    <dgm:cxn modelId="{DA1E153D-84BF-4B08-89EE-F8488F77CCC3}" srcId="{4C5FF32D-9E13-44AC-B7A8-D297265C7314}" destId="{A6BF05B0-7F73-4D7C-8314-B2B4CEB89C5F}" srcOrd="5" destOrd="0" parTransId="{E0D5AF05-8764-4824-BE83-34C8EB5C2833}" sibTransId="{F2BCBEB3-3F50-4E1B-BFFB-C7B3AE715A51}"/>
    <dgm:cxn modelId="{E56EFA46-2410-480B-961C-4D535DD7B75F}" type="presOf" srcId="{A6BF05B0-7F73-4D7C-8314-B2B4CEB89C5F}" destId="{9742E38F-3B45-40CE-865D-DA55F82020DC}" srcOrd="0" destOrd="0" presId="urn:microsoft.com/office/officeart/2008/layout/VerticalCurvedList"/>
    <dgm:cxn modelId="{2D5E4D77-977D-4F56-8B22-D21249BAF1C7}" srcId="{4C5FF32D-9E13-44AC-B7A8-D297265C7314}" destId="{ABB649EF-8E43-463F-867D-2D366C13CEE2}" srcOrd="4" destOrd="0" parTransId="{895F95F1-81B7-4F67-A234-FA61A63E7447}" sibTransId="{E16FED89-48DF-40F1-AEFA-1194C40383EF}"/>
    <dgm:cxn modelId="{53122082-47ED-4A69-98DA-EC8BDC6D4535}" srcId="{4C5FF32D-9E13-44AC-B7A8-D297265C7314}" destId="{91B91616-FE54-48F8-8DC0-71EE4A191010}" srcOrd="1" destOrd="0" parTransId="{6A7C06D3-6FBD-4127-9F20-8249EFC4FBDA}" sibTransId="{F4EEFB28-591F-472F-8348-369FE4C7DF11}"/>
    <dgm:cxn modelId="{15EC4A85-7BC6-4E88-A512-2779F93EB652}" type="presOf" srcId="{58D88A49-252F-46F6-9F71-D594650C7502}" destId="{BA7F4F57-3F8A-4CB8-ACC4-97C98C6B11C5}" srcOrd="0" destOrd="0" presId="urn:microsoft.com/office/officeart/2008/layout/VerticalCurvedList"/>
    <dgm:cxn modelId="{ADE46E92-617A-4FE5-9CFD-E8D205DB88E5}" type="presOf" srcId="{ABB649EF-8E43-463F-867D-2D366C13CEE2}" destId="{FEA8CF04-A4B1-4806-B1EA-EC5DD3E852E0}" srcOrd="0" destOrd="0" presId="urn:microsoft.com/office/officeart/2008/layout/VerticalCurvedList"/>
    <dgm:cxn modelId="{0FCCE6A7-010C-4A71-93D8-9A7A14C262BC}" type="presOf" srcId="{91B91616-FE54-48F8-8DC0-71EE4A191010}" destId="{A89491CA-5A6A-404E-8193-1B37983C49ED}" srcOrd="0" destOrd="0" presId="urn:microsoft.com/office/officeart/2008/layout/VerticalCurvedList"/>
    <dgm:cxn modelId="{80BC46B8-D978-4061-89AD-B0D0E6F00DA1}" type="presOf" srcId="{2FD1A198-0004-4918-998A-036421F41CAD}" destId="{6DAF88B6-BBE2-4B09-81DE-93ED4CA8BBFF}" srcOrd="0" destOrd="0" presId="urn:microsoft.com/office/officeart/2008/layout/VerticalCurvedList"/>
    <dgm:cxn modelId="{C7358BBD-04E0-4038-9D22-26A432C23BDE}" srcId="{4C5FF32D-9E13-44AC-B7A8-D297265C7314}" destId="{2FD1A198-0004-4918-998A-036421F41CAD}" srcOrd="0" destOrd="0" parTransId="{F42AA4BA-B461-4E0A-A143-1003D0B17AD0}" sibTransId="{E6B2070B-2840-4443-BB5B-1FF17355897F}"/>
    <dgm:cxn modelId="{43B35FBE-3019-43CF-BB9C-D14168B81C09}" type="presOf" srcId="{E6B2070B-2840-4443-BB5B-1FF17355897F}" destId="{9D0C7E8A-1620-4DA5-BEBE-B6DBEBB9F16F}" srcOrd="0" destOrd="0" presId="urn:microsoft.com/office/officeart/2008/layout/VerticalCurvedList"/>
    <dgm:cxn modelId="{357BC3BF-26EB-4B3D-B93A-4E5679BEEC80}" type="presOf" srcId="{14471FD4-1881-428C-B92A-E977453A3A3F}" destId="{9E7C4CD6-4381-4435-A852-220923B9DE3B}" srcOrd="0" destOrd="0" presId="urn:microsoft.com/office/officeart/2008/layout/VerticalCurvedList"/>
    <dgm:cxn modelId="{19D061E8-6EC2-469E-BC13-DEA2CAFC2874}" srcId="{4C5FF32D-9E13-44AC-B7A8-D297265C7314}" destId="{14471FD4-1881-428C-B92A-E977453A3A3F}" srcOrd="2" destOrd="0" parTransId="{59303920-82AA-4494-B82A-717411637533}" sibTransId="{F93FB19E-4DE5-4883-B272-4BBB1D8FC72A}"/>
    <dgm:cxn modelId="{3EB76890-F08E-49CB-8796-DF26F0AA1A06}" type="presParOf" srcId="{729E3C33-3F15-4928-969F-26B3F96A1096}" destId="{52654246-DC74-430F-9D20-1F2D0AE0D0DA}" srcOrd="0" destOrd="0" presId="urn:microsoft.com/office/officeart/2008/layout/VerticalCurvedList"/>
    <dgm:cxn modelId="{32B5797A-07B1-48CB-9A3C-798AABE7D552}" type="presParOf" srcId="{52654246-DC74-430F-9D20-1F2D0AE0D0DA}" destId="{B023E7DD-1B1E-4B2B-801F-797F4315A06C}" srcOrd="0" destOrd="0" presId="urn:microsoft.com/office/officeart/2008/layout/VerticalCurvedList"/>
    <dgm:cxn modelId="{C3443AD4-85BA-4D7B-A08F-A27A444A2DE0}" type="presParOf" srcId="{B023E7DD-1B1E-4B2B-801F-797F4315A06C}" destId="{B1A5E23F-390C-455B-9219-EDA3155D41EF}" srcOrd="0" destOrd="0" presId="urn:microsoft.com/office/officeart/2008/layout/VerticalCurvedList"/>
    <dgm:cxn modelId="{72C15BFF-74C3-46F1-B790-05313EE2A766}" type="presParOf" srcId="{B023E7DD-1B1E-4B2B-801F-797F4315A06C}" destId="{9D0C7E8A-1620-4DA5-BEBE-B6DBEBB9F16F}" srcOrd="1" destOrd="0" presId="urn:microsoft.com/office/officeart/2008/layout/VerticalCurvedList"/>
    <dgm:cxn modelId="{B1A3F2AD-2C03-45EB-BE37-C5DA00C9106A}" type="presParOf" srcId="{B023E7DD-1B1E-4B2B-801F-797F4315A06C}" destId="{2808B5BC-AE1D-4812-B679-CC88E88D6610}" srcOrd="2" destOrd="0" presId="urn:microsoft.com/office/officeart/2008/layout/VerticalCurvedList"/>
    <dgm:cxn modelId="{7E1C2115-8A46-4E55-A1A9-FDED69BD25FC}" type="presParOf" srcId="{B023E7DD-1B1E-4B2B-801F-797F4315A06C}" destId="{11C8155A-D21F-43E1-8F87-8991F4B551C9}" srcOrd="3" destOrd="0" presId="urn:microsoft.com/office/officeart/2008/layout/VerticalCurvedList"/>
    <dgm:cxn modelId="{B7E3C956-DD59-4462-9219-730F3119EE84}" type="presParOf" srcId="{52654246-DC74-430F-9D20-1F2D0AE0D0DA}" destId="{6DAF88B6-BBE2-4B09-81DE-93ED4CA8BBFF}" srcOrd="1" destOrd="0" presId="urn:microsoft.com/office/officeart/2008/layout/VerticalCurvedList"/>
    <dgm:cxn modelId="{C33FD487-0CA5-4602-A6A4-260BEFB2FBC9}" type="presParOf" srcId="{52654246-DC74-430F-9D20-1F2D0AE0D0DA}" destId="{ACE4AADA-295E-4BD3-9ADD-051B5505E816}" srcOrd="2" destOrd="0" presId="urn:microsoft.com/office/officeart/2008/layout/VerticalCurvedList"/>
    <dgm:cxn modelId="{97FD56B5-0345-4138-8F98-8A7C794EB2D5}" type="presParOf" srcId="{ACE4AADA-295E-4BD3-9ADD-051B5505E816}" destId="{C8F213C5-9F16-4466-8C0D-BC3BAE090B99}" srcOrd="0" destOrd="0" presId="urn:microsoft.com/office/officeart/2008/layout/VerticalCurvedList"/>
    <dgm:cxn modelId="{4AB3925F-E8C6-40B5-A293-0C3DEEC5200D}" type="presParOf" srcId="{52654246-DC74-430F-9D20-1F2D0AE0D0DA}" destId="{A89491CA-5A6A-404E-8193-1B37983C49ED}" srcOrd="3" destOrd="0" presId="urn:microsoft.com/office/officeart/2008/layout/VerticalCurvedList"/>
    <dgm:cxn modelId="{F2513343-4907-47BA-9B5E-CA7ABFF57D74}" type="presParOf" srcId="{52654246-DC74-430F-9D20-1F2D0AE0D0DA}" destId="{64E024E8-E799-4CB6-B00A-9D183B5E620F}" srcOrd="4" destOrd="0" presId="urn:microsoft.com/office/officeart/2008/layout/VerticalCurvedList"/>
    <dgm:cxn modelId="{262379DE-B376-423B-A2E9-9C7672E551C1}" type="presParOf" srcId="{64E024E8-E799-4CB6-B00A-9D183B5E620F}" destId="{3C3C5993-0F17-45B7-8A38-BED0218EFEF5}" srcOrd="0" destOrd="0" presId="urn:microsoft.com/office/officeart/2008/layout/VerticalCurvedList"/>
    <dgm:cxn modelId="{6DA4A06C-DC2C-49FA-93EE-69C497D23A85}" type="presParOf" srcId="{52654246-DC74-430F-9D20-1F2D0AE0D0DA}" destId="{9E7C4CD6-4381-4435-A852-220923B9DE3B}" srcOrd="5" destOrd="0" presId="urn:microsoft.com/office/officeart/2008/layout/VerticalCurvedList"/>
    <dgm:cxn modelId="{03332A7F-12D1-4EAF-977E-2AF12B8F501A}" type="presParOf" srcId="{52654246-DC74-430F-9D20-1F2D0AE0D0DA}" destId="{0B8F7F7B-D385-409B-B108-20873A0AB2F5}" srcOrd="6" destOrd="0" presId="urn:microsoft.com/office/officeart/2008/layout/VerticalCurvedList"/>
    <dgm:cxn modelId="{70756822-581F-44F8-BF21-232496249552}" type="presParOf" srcId="{0B8F7F7B-D385-409B-B108-20873A0AB2F5}" destId="{09E25155-D001-4FCC-B0F0-906EE98E26FA}" srcOrd="0" destOrd="0" presId="urn:microsoft.com/office/officeart/2008/layout/VerticalCurvedList"/>
    <dgm:cxn modelId="{9ADDFDC2-72C4-4C98-A33A-2838908E7A5B}" type="presParOf" srcId="{52654246-DC74-430F-9D20-1F2D0AE0D0DA}" destId="{BA7F4F57-3F8A-4CB8-ACC4-97C98C6B11C5}" srcOrd="7" destOrd="0" presId="urn:microsoft.com/office/officeart/2008/layout/VerticalCurvedList"/>
    <dgm:cxn modelId="{505912AD-DC73-40C5-A0C7-BFF27F76DA40}" type="presParOf" srcId="{52654246-DC74-430F-9D20-1F2D0AE0D0DA}" destId="{AD702FAA-1A20-4713-8A61-5F6AC22D8988}" srcOrd="8" destOrd="0" presId="urn:microsoft.com/office/officeart/2008/layout/VerticalCurvedList"/>
    <dgm:cxn modelId="{FE1671E6-7229-48B8-8F21-1EC40DC37731}" type="presParOf" srcId="{AD702FAA-1A20-4713-8A61-5F6AC22D8988}" destId="{850F1105-1691-4C66-BC6A-6E2909201C31}" srcOrd="0" destOrd="0" presId="urn:microsoft.com/office/officeart/2008/layout/VerticalCurvedList"/>
    <dgm:cxn modelId="{AE9390B6-2030-44B0-A8EC-83DE96DF522B}" type="presParOf" srcId="{52654246-DC74-430F-9D20-1F2D0AE0D0DA}" destId="{FEA8CF04-A4B1-4806-B1EA-EC5DD3E852E0}" srcOrd="9" destOrd="0" presId="urn:microsoft.com/office/officeart/2008/layout/VerticalCurvedList"/>
    <dgm:cxn modelId="{3933FFAE-7A1E-4094-8606-C82C7DF98DC8}" type="presParOf" srcId="{52654246-DC74-430F-9D20-1F2D0AE0D0DA}" destId="{3B2111CD-F738-49CB-925C-54A3EA7DE9B5}" srcOrd="10" destOrd="0" presId="urn:microsoft.com/office/officeart/2008/layout/VerticalCurvedList"/>
    <dgm:cxn modelId="{FC78E757-4A86-47E9-8ECD-7C00E78FE903}" type="presParOf" srcId="{3B2111CD-F738-49CB-925C-54A3EA7DE9B5}" destId="{A744BE90-3E17-47F6-85BB-4128DC1F2A4C}" srcOrd="0" destOrd="0" presId="urn:microsoft.com/office/officeart/2008/layout/VerticalCurvedList"/>
    <dgm:cxn modelId="{CCBE7346-8559-4F03-A164-D45556B215F4}" type="presParOf" srcId="{52654246-DC74-430F-9D20-1F2D0AE0D0DA}" destId="{9742E38F-3B45-40CE-865D-DA55F82020DC}" srcOrd="11" destOrd="0" presId="urn:microsoft.com/office/officeart/2008/layout/VerticalCurvedList"/>
    <dgm:cxn modelId="{5FDEF7D7-D260-4B68-8CE1-A6AD7398897C}" type="presParOf" srcId="{52654246-DC74-430F-9D20-1F2D0AE0D0DA}" destId="{7EB7F454-05CD-4FF9-AAFD-B74A7D33EF71}" srcOrd="12" destOrd="0" presId="urn:microsoft.com/office/officeart/2008/layout/VerticalCurvedList"/>
    <dgm:cxn modelId="{43B093DA-2EA9-4CB4-A2E5-A5C0AFF606A5}" type="presParOf" srcId="{7EB7F454-05CD-4FF9-AAFD-B74A7D33EF71}" destId="{CE23794F-5D82-4974-B625-D1EF7677F33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FAE04C-29B7-43A1-B5E2-A582235D4F8B}">
      <dsp:nvSpPr>
        <dsp:cNvPr id="0" name=""/>
        <dsp:cNvSpPr/>
      </dsp:nvSpPr>
      <dsp:spPr>
        <a:xfrm>
          <a:off x="2531252" y="2978929"/>
          <a:ext cx="2088229" cy="1793130"/>
        </a:xfrm>
        <a:prstGeom prst="hexagon">
          <a:avLst>
            <a:gd name="adj" fmla="val 25000"/>
            <a:gd name="vf" fmla="val 1154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Praxisanleitung</a:t>
          </a:r>
        </a:p>
      </dsp:txBody>
      <dsp:txXfrm>
        <a:off x="2854699" y="3256668"/>
        <a:ext cx="1441335" cy="1237652"/>
      </dsp:txXfrm>
    </dsp:sp>
    <dsp:sp modelId="{D46B3DA0-A0EF-48F9-9CB5-65C4AD5C545E}">
      <dsp:nvSpPr>
        <dsp:cNvPr id="0" name=""/>
        <dsp:cNvSpPr/>
      </dsp:nvSpPr>
      <dsp:spPr>
        <a:xfrm>
          <a:off x="2581077" y="3780815"/>
          <a:ext cx="243589" cy="21014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4F1497-F18F-4CF6-A561-59E8B80BCC9B}">
      <dsp:nvSpPr>
        <dsp:cNvPr id="0" name=""/>
        <dsp:cNvSpPr/>
      </dsp:nvSpPr>
      <dsp:spPr>
        <a:xfrm>
          <a:off x="734223" y="1987684"/>
          <a:ext cx="2088229" cy="179313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 l="-14000" r="-14000"/>
          </a:stretch>
        </a:blip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706BEB-727A-4CEE-9582-370909A921F0}">
      <dsp:nvSpPr>
        <dsp:cNvPr id="0" name=""/>
        <dsp:cNvSpPr/>
      </dsp:nvSpPr>
      <dsp:spPr>
        <a:xfrm>
          <a:off x="2164760" y="3542963"/>
          <a:ext cx="243589" cy="21014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1268184"/>
              <a:satOff val="-359"/>
              <a:lumOff val="-78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F7E6F1-CC2A-476F-9749-D42EFE47F0F9}">
      <dsp:nvSpPr>
        <dsp:cNvPr id="0" name=""/>
        <dsp:cNvSpPr/>
      </dsp:nvSpPr>
      <dsp:spPr>
        <a:xfrm>
          <a:off x="4328280" y="1982489"/>
          <a:ext cx="2088229" cy="1793130"/>
        </a:xfrm>
        <a:prstGeom prst="hexagon">
          <a:avLst>
            <a:gd name="adj" fmla="val 25000"/>
            <a:gd name="vf" fmla="val 115470"/>
          </a:avLst>
        </a:prstGeom>
        <a:solidFill>
          <a:schemeClr val="accent5">
            <a:hueOff val="-2790004"/>
            <a:satOff val="-790"/>
            <a:lumOff val="-1726"/>
            <a:alphaOff val="0"/>
          </a:schemeClr>
        </a:solidFill>
        <a:ln w="12700" cap="flat" cmpd="sng" algn="ctr">
          <a:solidFill>
            <a:schemeClr val="accent5">
              <a:hueOff val="-2790004"/>
              <a:satOff val="-790"/>
              <a:lumOff val="-172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Praxisbegleitung</a:t>
          </a:r>
        </a:p>
      </dsp:txBody>
      <dsp:txXfrm>
        <a:off x="4651727" y="2260228"/>
        <a:ext cx="1441335" cy="1237652"/>
      </dsp:txXfrm>
    </dsp:sp>
    <dsp:sp modelId="{F255647B-013D-43CA-AD9A-2C39BEE32CD2}">
      <dsp:nvSpPr>
        <dsp:cNvPr id="0" name=""/>
        <dsp:cNvSpPr/>
      </dsp:nvSpPr>
      <dsp:spPr>
        <a:xfrm>
          <a:off x="5765460" y="3533148"/>
          <a:ext cx="243589" cy="21014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2536367"/>
              <a:satOff val="-718"/>
              <a:lumOff val="-156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C9A658-118A-41BD-A753-E1670DF52494}">
      <dsp:nvSpPr>
        <dsp:cNvPr id="0" name=""/>
        <dsp:cNvSpPr/>
      </dsp:nvSpPr>
      <dsp:spPr>
        <a:xfrm>
          <a:off x="6124202" y="2975465"/>
          <a:ext cx="2088229" cy="179313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12000" r="-12000"/>
          </a:stretch>
        </a:blipFill>
        <a:ln w="12700" cap="flat" cmpd="sng" algn="ctr">
          <a:solidFill>
            <a:schemeClr val="accent5">
              <a:hueOff val="-2790004"/>
              <a:satOff val="-790"/>
              <a:lumOff val="-172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61100E-323A-47A1-91C8-BDF490331235}">
      <dsp:nvSpPr>
        <dsp:cNvPr id="0" name=""/>
        <dsp:cNvSpPr/>
      </dsp:nvSpPr>
      <dsp:spPr>
        <a:xfrm>
          <a:off x="6175134" y="3773310"/>
          <a:ext cx="243589" cy="21014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3804551"/>
              <a:satOff val="-1077"/>
              <a:lumOff val="-235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485FCE-F5E2-478E-9EC9-4F2E2FF00EDA}">
      <dsp:nvSpPr>
        <dsp:cNvPr id="0" name=""/>
        <dsp:cNvSpPr/>
      </dsp:nvSpPr>
      <dsp:spPr>
        <a:xfrm>
          <a:off x="2531252" y="997017"/>
          <a:ext cx="2088229" cy="1793130"/>
        </a:xfrm>
        <a:prstGeom prst="hexagon">
          <a:avLst>
            <a:gd name="adj" fmla="val 25000"/>
            <a:gd name="vf" fmla="val 115470"/>
          </a:avLst>
        </a:prstGeom>
        <a:solidFill>
          <a:schemeClr val="accent5">
            <a:hueOff val="-5580007"/>
            <a:satOff val="-1579"/>
            <a:lumOff val="-3451"/>
            <a:alphaOff val="0"/>
          </a:schemeClr>
        </a:solidFill>
        <a:ln w="12700" cap="flat" cmpd="sng" algn="ctr">
          <a:solidFill>
            <a:schemeClr val="accent5">
              <a:hueOff val="-5580007"/>
              <a:satOff val="-1579"/>
              <a:lumOff val="-345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 err="1">
              <a:solidFill>
                <a:schemeClr val="tx1"/>
              </a:solidFill>
            </a:rPr>
            <a:t>Praxisanleiter:in</a:t>
          </a:r>
          <a:endParaRPr lang="de-DE" sz="1400" kern="1200" dirty="0">
            <a:solidFill>
              <a:schemeClr val="tx1"/>
            </a:solidFill>
          </a:endParaRPr>
        </a:p>
      </dsp:txBody>
      <dsp:txXfrm>
        <a:off x="2854699" y="1274756"/>
        <a:ext cx="1441335" cy="1237652"/>
      </dsp:txXfrm>
    </dsp:sp>
    <dsp:sp modelId="{27E9D124-FDE0-4F7F-8246-7B92FDAF362A}">
      <dsp:nvSpPr>
        <dsp:cNvPr id="0" name=""/>
        <dsp:cNvSpPr/>
      </dsp:nvSpPr>
      <dsp:spPr>
        <a:xfrm>
          <a:off x="3961788" y="1031079"/>
          <a:ext cx="243589" cy="21014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5072734"/>
              <a:satOff val="-1436"/>
              <a:lumOff val="-31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FB8F8C-D3AA-4706-9859-306B33B7AD00}">
      <dsp:nvSpPr>
        <dsp:cNvPr id="0" name=""/>
        <dsp:cNvSpPr/>
      </dsp:nvSpPr>
      <dsp:spPr>
        <a:xfrm>
          <a:off x="4328280" y="0"/>
          <a:ext cx="2088229" cy="179313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 l="-14000" r="-14000"/>
          </a:stretch>
        </a:blipFill>
        <a:ln w="12700" cap="flat" cmpd="sng" algn="ctr">
          <a:solidFill>
            <a:schemeClr val="accent5">
              <a:hueOff val="-5580007"/>
              <a:satOff val="-1579"/>
              <a:lumOff val="-345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F9B79B-FC08-4B75-B84F-159354B118E4}">
      <dsp:nvSpPr>
        <dsp:cNvPr id="0" name=""/>
        <dsp:cNvSpPr/>
      </dsp:nvSpPr>
      <dsp:spPr>
        <a:xfrm>
          <a:off x="4386963" y="794381"/>
          <a:ext cx="243589" cy="21014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6340918"/>
              <a:satOff val="-1795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0B692C-1D26-4F4B-B07D-FA7D58616822}">
      <dsp:nvSpPr>
        <dsp:cNvPr id="0" name=""/>
        <dsp:cNvSpPr/>
      </dsp:nvSpPr>
      <dsp:spPr>
        <a:xfrm>
          <a:off x="6124202" y="992976"/>
          <a:ext cx="2088229" cy="1793130"/>
        </a:xfrm>
        <a:prstGeom prst="hexagon">
          <a:avLst>
            <a:gd name="adj" fmla="val 25000"/>
            <a:gd name="vf" fmla="val 115470"/>
          </a:avLst>
        </a:prstGeom>
        <a:solidFill>
          <a:schemeClr val="accent5">
            <a:hueOff val="-8370011"/>
            <a:satOff val="-2369"/>
            <a:lumOff val="-5177"/>
            <a:alphaOff val="0"/>
          </a:schemeClr>
        </a:solidFill>
        <a:ln w="12700" cap="flat" cmpd="sng" algn="ctr">
          <a:solidFill>
            <a:schemeClr val="accent5">
              <a:hueOff val="-8370011"/>
              <a:satOff val="-2369"/>
              <a:lumOff val="-517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Methodik</a:t>
          </a:r>
        </a:p>
      </dsp:txBody>
      <dsp:txXfrm>
        <a:off x="6447649" y="1270715"/>
        <a:ext cx="1441335" cy="1237652"/>
      </dsp:txXfrm>
    </dsp:sp>
    <dsp:sp modelId="{8242372B-EDC4-4A88-A74A-5C92080E0AFC}">
      <dsp:nvSpPr>
        <dsp:cNvPr id="0" name=""/>
        <dsp:cNvSpPr/>
      </dsp:nvSpPr>
      <dsp:spPr>
        <a:xfrm>
          <a:off x="7931195" y="1787357"/>
          <a:ext cx="243589" cy="21014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7609101"/>
              <a:satOff val="-2153"/>
              <a:lumOff val="-470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CD88B2-63B6-4AED-8AD7-68D78990238A}">
      <dsp:nvSpPr>
        <dsp:cNvPr id="0" name=""/>
        <dsp:cNvSpPr/>
      </dsp:nvSpPr>
      <dsp:spPr>
        <a:xfrm>
          <a:off x="7921230" y="2000963"/>
          <a:ext cx="2088229" cy="179313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rcRect/>
          <a:stretch>
            <a:fillRect l="-26000" r="-26000"/>
          </a:stretch>
        </a:blipFill>
        <a:ln w="12700" cap="flat" cmpd="sng" algn="ctr">
          <a:solidFill>
            <a:schemeClr val="accent5">
              <a:hueOff val="-8370011"/>
              <a:satOff val="-2369"/>
              <a:lumOff val="-517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A77EDA-0185-4443-BAAC-BD90D3E645DF}">
      <dsp:nvSpPr>
        <dsp:cNvPr id="0" name=""/>
        <dsp:cNvSpPr/>
      </dsp:nvSpPr>
      <dsp:spPr>
        <a:xfrm>
          <a:off x="8328690" y="2033292"/>
          <a:ext cx="243589" cy="21014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8877285"/>
              <a:satOff val="-2512"/>
              <a:lumOff val="-549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2E790F-3D92-4841-AD15-750FC5FFED7F}">
      <dsp:nvSpPr>
        <dsp:cNvPr id="0" name=""/>
        <dsp:cNvSpPr/>
      </dsp:nvSpPr>
      <dsp:spPr>
        <a:xfrm>
          <a:off x="7921230" y="19051"/>
          <a:ext cx="2088229" cy="1793130"/>
        </a:xfrm>
        <a:prstGeom prst="hexagon">
          <a:avLst>
            <a:gd name="adj" fmla="val 25000"/>
            <a:gd name="vf" fmla="val 115470"/>
          </a:avLst>
        </a:prstGeom>
        <a:solidFill>
          <a:schemeClr val="accent5">
            <a:hueOff val="-11160015"/>
            <a:satOff val="-3158"/>
            <a:lumOff val="-6902"/>
            <a:alphaOff val="0"/>
          </a:schemeClr>
        </a:solidFill>
        <a:ln w="12700" cap="flat" cmpd="sng" algn="ctr">
          <a:solidFill>
            <a:schemeClr val="accent5">
              <a:hueOff val="-11160015"/>
              <a:satOff val="-3158"/>
              <a:lumOff val="-690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Didaktik</a:t>
          </a:r>
        </a:p>
      </dsp:txBody>
      <dsp:txXfrm>
        <a:off x="8244677" y="296790"/>
        <a:ext cx="1441335" cy="1237652"/>
      </dsp:txXfrm>
    </dsp:sp>
    <dsp:sp modelId="{29A4CBD0-F969-44AB-B822-66153985ECC6}">
      <dsp:nvSpPr>
        <dsp:cNvPr id="0" name=""/>
        <dsp:cNvSpPr/>
      </dsp:nvSpPr>
      <dsp:spPr>
        <a:xfrm>
          <a:off x="9728224" y="822669"/>
          <a:ext cx="243589" cy="21014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10145468"/>
              <a:satOff val="-2871"/>
              <a:lumOff val="-627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8C4D25-67F4-4D1E-BEE2-EE597CC7CF46}">
      <dsp:nvSpPr>
        <dsp:cNvPr id="0" name=""/>
        <dsp:cNvSpPr/>
      </dsp:nvSpPr>
      <dsp:spPr>
        <a:xfrm>
          <a:off x="9718259" y="1019532"/>
          <a:ext cx="2088229" cy="179313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0"/>
              </a:ext>
            </a:extLst>
          </a:blip>
          <a:srcRect/>
          <a:stretch>
            <a:fillRect l="-31000" r="-31000"/>
          </a:stretch>
        </a:blipFill>
        <a:ln w="12700" cap="flat" cmpd="sng" algn="ctr">
          <a:solidFill>
            <a:schemeClr val="accent5">
              <a:hueOff val="-11160015"/>
              <a:satOff val="-3158"/>
              <a:lumOff val="-690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FFA862-90A5-4115-B6D3-332F459A4F23}">
      <dsp:nvSpPr>
        <dsp:cNvPr id="0" name=""/>
        <dsp:cNvSpPr/>
      </dsp:nvSpPr>
      <dsp:spPr>
        <a:xfrm>
          <a:off x="10134576" y="1059367"/>
          <a:ext cx="243589" cy="21014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11413651"/>
              <a:satOff val="-3230"/>
              <a:lumOff val="-705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D8E77F-7F55-4937-99B2-AC25879EDDF3}">
      <dsp:nvSpPr>
        <dsp:cNvPr id="0" name=""/>
        <dsp:cNvSpPr/>
      </dsp:nvSpPr>
      <dsp:spPr>
        <a:xfrm>
          <a:off x="9718259" y="2998558"/>
          <a:ext cx="2088229" cy="1793130"/>
        </a:xfrm>
        <a:prstGeom prst="hexagon">
          <a:avLst>
            <a:gd name="adj" fmla="val 25000"/>
            <a:gd name="vf" fmla="val 115470"/>
          </a:avLst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accent5">
              <a:hueOff val="-13950018"/>
              <a:satOff val="-3948"/>
              <a:lumOff val="-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Lernorte</a:t>
          </a:r>
        </a:p>
      </dsp:txBody>
      <dsp:txXfrm>
        <a:off x="10041706" y="3276297"/>
        <a:ext cx="1441335" cy="1237652"/>
      </dsp:txXfrm>
    </dsp:sp>
    <dsp:sp modelId="{56A921EC-D97B-4C86-8B3A-665CF4725167}">
      <dsp:nvSpPr>
        <dsp:cNvPr id="0" name=""/>
        <dsp:cNvSpPr/>
      </dsp:nvSpPr>
      <dsp:spPr>
        <a:xfrm>
          <a:off x="10132362" y="4568846"/>
          <a:ext cx="243589" cy="21014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12681835"/>
              <a:satOff val="-3589"/>
              <a:lumOff val="-784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BF8A79-F3D8-44F1-B345-BC80CDEEBC19}">
      <dsp:nvSpPr>
        <dsp:cNvPr id="0" name=""/>
        <dsp:cNvSpPr/>
      </dsp:nvSpPr>
      <dsp:spPr>
        <a:xfrm>
          <a:off x="7921230" y="3979988"/>
          <a:ext cx="2088229" cy="1793130"/>
        </a:xfrm>
        <a:prstGeom prst="hexagon">
          <a:avLst>
            <a:gd name="adj" fmla="val 25000"/>
            <a:gd name="vf" fmla="val 115470"/>
          </a:avLst>
        </a:prstGeom>
        <a:blipFill dpi="0" rotWithShape="1"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2"/>
              </a:ext>
            </a:extLst>
          </a:blip>
          <a:srcRect/>
          <a:stretch>
            <a:fillRect t="-18556" b="-37444"/>
          </a:stretch>
        </a:blipFill>
        <a:ln w="12700" cap="flat" cmpd="sng" algn="ctr">
          <a:solidFill>
            <a:schemeClr val="accent5">
              <a:hueOff val="-13950018"/>
              <a:satOff val="-3948"/>
              <a:lumOff val="-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2095DC-5E12-4B67-A610-CCC40489A159}">
      <dsp:nvSpPr>
        <dsp:cNvPr id="0" name=""/>
        <dsp:cNvSpPr/>
      </dsp:nvSpPr>
      <dsp:spPr>
        <a:xfrm>
          <a:off x="9744832" y="4766864"/>
          <a:ext cx="243589" cy="21014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13950018"/>
              <a:satOff val="-3948"/>
              <a:lumOff val="-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8C051B-AB63-403F-A160-E61478D66FCE}">
      <dsp:nvSpPr>
        <dsp:cNvPr id="0" name=""/>
        <dsp:cNvSpPr/>
      </dsp:nvSpPr>
      <dsp:spPr>
        <a:xfrm rot="10800000">
          <a:off x="1722090" y="2091"/>
          <a:ext cx="6111779" cy="730629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Aktives Zuhören</a:t>
          </a:r>
        </a:p>
      </dsp:txBody>
      <dsp:txXfrm rot="10800000">
        <a:off x="1904747" y="2091"/>
        <a:ext cx="5929122" cy="730629"/>
      </dsp:txXfrm>
    </dsp:sp>
    <dsp:sp modelId="{342FFB2F-595A-4F0B-AC66-FC6AC811DFA1}">
      <dsp:nvSpPr>
        <dsp:cNvPr id="0" name=""/>
        <dsp:cNvSpPr/>
      </dsp:nvSpPr>
      <dsp:spPr>
        <a:xfrm>
          <a:off x="1356775" y="2091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F6337D-546F-4971-8C93-B583E0A9F3A4}">
      <dsp:nvSpPr>
        <dsp:cNvPr id="0" name=""/>
        <dsp:cNvSpPr/>
      </dsp:nvSpPr>
      <dsp:spPr>
        <a:xfrm rot="10800000">
          <a:off x="1722090" y="950819"/>
          <a:ext cx="6111779" cy="730629"/>
        </a:xfrm>
        <a:prstGeom prst="homePlate">
          <a:avLst/>
        </a:prstGeom>
        <a:solidFill>
          <a:schemeClr val="accent5">
            <a:hueOff val="-3487505"/>
            <a:satOff val="-987"/>
            <a:lumOff val="-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5 Axiome nach </a:t>
          </a:r>
          <a:r>
            <a:rPr lang="de-DE" sz="2000" kern="1200" dirty="0" err="1">
              <a:solidFill>
                <a:schemeClr val="tx1"/>
              </a:solidFill>
            </a:rPr>
            <a:t>Watzlawik</a:t>
          </a:r>
          <a:endParaRPr lang="de-DE" sz="2000" kern="1200" dirty="0">
            <a:solidFill>
              <a:schemeClr val="tx1"/>
            </a:solidFill>
          </a:endParaRPr>
        </a:p>
      </dsp:txBody>
      <dsp:txXfrm rot="10800000">
        <a:off x="1904747" y="950819"/>
        <a:ext cx="5929122" cy="730629"/>
      </dsp:txXfrm>
    </dsp:sp>
    <dsp:sp modelId="{C03741AC-B658-4ECD-AA0E-629FCD2C1027}">
      <dsp:nvSpPr>
        <dsp:cNvPr id="0" name=""/>
        <dsp:cNvSpPr/>
      </dsp:nvSpPr>
      <dsp:spPr>
        <a:xfrm>
          <a:off x="1356775" y="950819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2"/>
          <a:srcRect/>
          <a:stretch>
            <a:fillRect l="-15000" r="-1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B95053-951C-4BD5-9FAA-ABFB64730EA0}">
      <dsp:nvSpPr>
        <dsp:cNvPr id="0" name=""/>
        <dsp:cNvSpPr/>
      </dsp:nvSpPr>
      <dsp:spPr>
        <a:xfrm rot="10800000">
          <a:off x="1722090" y="1899546"/>
          <a:ext cx="6111779" cy="730629"/>
        </a:xfrm>
        <a:prstGeom prst="homePlate">
          <a:avLst/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Sender-Empfänger Modell – Shannon / Weaver </a:t>
          </a:r>
          <a:r>
            <a:rPr lang="de-DE" sz="1600" i="1" kern="1200" dirty="0">
              <a:solidFill>
                <a:schemeClr val="tx1"/>
              </a:solidFill>
            </a:rPr>
            <a:t>(Popcorn/Pommes)</a:t>
          </a:r>
          <a:endParaRPr lang="de-DE" sz="2000" i="1" kern="1200" dirty="0">
            <a:solidFill>
              <a:schemeClr val="tx1"/>
            </a:solidFill>
          </a:endParaRPr>
        </a:p>
      </dsp:txBody>
      <dsp:txXfrm rot="10800000">
        <a:off x="1904747" y="1899546"/>
        <a:ext cx="5929122" cy="730629"/>
      </dsp:txXfrm>
    </dsp:sp>
    <dsp:sp modelId="{09A1625C-073A-456C-9780-040B80F1829B}">
      <dsp:nvSpPr>
        <dsp:cNvPr id="0" name=""/>
        <dsp:cNvSpPr/>
      </dsp:nvSpPr>
      <dsp:spPr>
        <a:xfrm>
          <a:off x="1356775" y="1899546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3"/>
          <a:srcRect/>
          <a:stretch>
            <a:fillRect t="-17000" b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F313D2-F1CA-417E-9B60-BE178D9D79AD}">
      <dsp:nvSpPr>
        <dsp:cNvPr id="0" name=""/>
        <dsp:cNvSpPr/>
      </dsp:nvSpPr>
      <dsp:spPr>
        <a:xfrm rot="10800000">
          <a:off x="1722090" y="2848274"/>
          <a:ext cx="6111779" cy="730629"/>
        </a:xfrm>
        <a:prstGeom prst="homePlate">
          <a:avLst/>
        </a:prstGeom>
        <a:solidFill>
          <a:schemeClr val="accent5">
            <a:hueOff val="-10462514"/>
            <a:satOff val="-2961"/>
            <a:lumOff val="-64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Kommunikationsquadrat – Schulz von Thun</a:t>
          </a:r>
        </a:p>
      </dsp:txBody>
      <dsp:txXfrm rot="10800000">
        <a:off x="1904747" y="2848274"/>
        <a:ext cx="5929122" cy="730629"/>
      </dsp:txXfrm>
    </dsp:sp>
    <dsp:sp modelId="{DBC4E264-41E5-4007-9DD5-B777847AC49E}">
      <dsp:nvSpPr>
        <dsp:cNvPr id="0" name=""/>
        <dsp:cNvSpPr/>
      </dsp:nvSpPr>
      <dsp:spPr>
        <a:xfrm>
          <a:off x="1356775" y="2848274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4"/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603483-8CA9-4929-979A-6AD6E8DF67A5}">
      <dsp:nvSpPr>
        <dsp:cNvPr id="0" name=""/>
        <dsp:cNvSpPr/>
      </dsp:nvSpPr>
      <dsp:spPr>
        <a:xfrm rot="10800000">
          <a:off x="1722090" y="3797002"/>
          <a:ext cx="6111779" cy="730629"/>
        </a:xfrm>
        <a:prstGeom prst="homePlate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Johari-Fenster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i="1" kern="1200" dirty="0">
              <a:solidFill>
                <a:schemeClr val="tx1"/>
              </a:solidFill>
            </a:rPr>
            <a:t>(Apfel/Kirsch)</a:t>
          </a:r>
        </a:p>
      </dsp:txBody>
      <dsp:txXfrm rot="10800000">
        <a:off x="1904747" y="3797002"/>
        <a:ext cx="5929122" cy="730629"/>
      </dsp:txXfrm>
    </dsp:sp>
    <dsp:sp modelId="{3F80364F-CD31-455E-A0D9-69C1799F3BFE}">
      <dsp:nvSpPr>
        <dsp:cNvPr id="0" name=""/>
        <dsp:cNvSpPr/>
      </dsp:nvSpPr>
      <dsp:spPr>
        <a:xfrm>
          <a:off x="1356775" y="3797002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5"/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8C051B-AB63-403F-A160-E61478D66FCE}">
      <dsp:nvSpPr>
        <dsp:cNvPr id="0" name=""/>
        <dsp:cNvSpPr/>
      </dsp:nvSpPr>
      <dsp:spPr>
        <a:xfrm rot="10800000">
          <a:off x="1722090" y="2091"/>
          <a:ext cx="6111779" cy="730629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Aktives Zuhören</a:t>
          </a:r>
        </a:p>
      </dsp:txBody>
      <dsp:txXfrm rot="10800000">
        <a:off x="1904747" y="2091"/>
        <a:ext cx="5929122" cy="730629"/>
      </dsp:txXfrm>
    </dsp:sp>
    <dsp:sp modelId="{342FFB2F-595A-4F0B-AC66-FC6AC811DFA1}">
      <dsp:nvSpPr>
        <dsp:cNvPr id="0" name=""/>
        <dsp:cNvSpPr/>
      </dsp:nvSpPr>
      <dsp:spPr>
        <a:xfrm>
          <a:off x="1356775" y="2091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F6337D-546F-4971-8C93-B583E0A9F3A4}">
      <dsp:nvSpPr>
        <dsp:cNvPr id="0" name=""/>
        <dsp:cNvSpPr/>
      </dsp:nvSpPr>
      <dsp:spPr>
        <a:xfrm rot="10800000">
          <a:off x="1722090" y="950819"/>
          <a:ext cx="6111779" cy="730629"/>
        </a:xfrm>
        <a:prstGeom prst="homePlate">
          <a:avLst/>
        </a:prstGeom>
        <a:solidFill>
          <a:schemeClr val="accent5">
            <a:hueOff val="-3487505"/>
            <a:satOff val="-987"/>
            <a:lumOff val="-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5 Axiome nach </a:t>
          </a:r>
          <a:r>
            <a:rPr lang="de-DE" sz="2000" kern="1200" dirty="0" err="1">
              <a:solidFill>
                <a:schemeClr val="tx1"/>
              </a:solidFill>
            </a:rPr>
            <a:t>Watzlawik</a:t>
          </a:r>
          <a:endParaRPr lang="de-DE" sz="2000" kern="1200" dirty="0">
            <a:solidFill>
              <a:schemeClr val="tx1"/>
            </a:solidFill>
          </a:endParaRPr>
        </a:p>
      </dsp:txBody>
      <dsp:txXfrm rot="10800000">
        <a:off x="1904747" y="950819"/>
        <a:ext cx="5929122" cy="730629"/>
      </dsp:txXfrm>
    </dsp:sp>
    <dsp:sp modelId="{C03741AC-B658-4ECD-AA0E-629FCD2C1027}">
      <dsp:nvSpPr>
        <dsp:cNvPr id="0" name=""/>
        <dsp:cNvSpPr/>
      </dsp:nvSpPr>
      <dsp:spPr>
        <a:xfrm>
          <a:off x="1356775" y="950819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2"/>
          <a:srcRect/>
          <a:stretch>
            <a:fillRect l="-15000" r="-1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B95053-951C-4BD5-9FAA-ABFB64730EA0}">
      <dsp:nvSpPr>
        <dsp:cNvPr id="0" name=""/>
        <dsp:cNvSpPr/>
      </dsp:nvSpPr>
      <dsp:spPr>
        <a:xfrm rot="10800000">
          <a:off x="1722090" y="1899546"/>
          <a:ext cx="6111779" cy="730629"/>
        </a:xfrm>
        <a:prstGeom prst="homePlate">
          <a:avLst/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Sender-Empfänger Modell – Shannon / Weaver </a:t>
          </a:r>
          <a:r>
            <a:rPr lang="de-DE" sz="1600" i="1" kern="1200" dirty="0">
              <a:solidFill>
                <a:schemeClr val="tx1"/>
              </a:solidFill>
            </a:rPr>
            <a:t>(Popcorn/Pommes)</a:t>
          </a:r>
          <a:endParaRPr lang="de-DE" sz="2000" i="1" kern="1200" dirty="0">
            <a:solidFill>
              <a:schemeClr val="tx1"/>
            </a:solidFill>
          </a:endParaRPr>
        </a:p>
      </dsp:txBody>
      <dsp:txXfrm rot="10800000">
        <a:off x="1904747" y="1899546"/>
        <a:ext cx="5929122" cy="730629"/>
      </dsp:txXfrm>
    </dsp:sp>
    <dsp:sp modelId="{09A1625C-073A-456C-9780-040B80F1829B}">
      <dsp:nvSpPr>
        <dsp:cNvPr id="0" name=""/>
        <dsp:cNvSpPr/>
      </dsp:nvSpPr>
      <dsp:spPr>
        <a:xfrm>
          <a:off x="1356775" y="1899546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3"/>
          <a:srcRect/>
          <a:stretch>
            <a:fillRect t="-17000" b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F313D2-F1CA-417E-9B60-BE178D9D79AD}">
      <dsp:nvSpPr>
        <dsp:cNvPr id="0" name=""/>
        <dsp:cNvSpPr/>
      </dsp:nvSpPr>
      <dsp:spPr>
        <a:xfrm rot="10800000">
          <a:off x="1722090" y="2848274"/>
          <a:ext cx="6111779" cy="730629"/>
        </a:xfrm>
        <a:prstGeom prst="homePlate">
          <a:avLst/>
        </a:prstGeom>
        <a:solidFill>
          <a:schemeClr val="accent5">
            <a:hueOff val="-10462514"/>
            <a:satOff val="-2961"/>
            <a:lumOff val="-64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Kommunikationsquadrat – Schulz von Thun</a:t>
          </a:r>
        </a:p>
      </dsp:txBody>
      <dsp:txXfrm rot="10800000">
        <a:off x="1904747" y="2848274"/>
        <a:ext cx="5929122" cy="730629"/>
      </dsp:txXfrm>
    </dsp:sp>
    <dsp:sp modelId="{DBC4E264-41E5-4007-9DD5-B777847AC49E}">
      <dsp:nvSpPr>
        <dsp:cNvPr id="0" name=""/>
        <dsp:cNvSpPr/>
      </dsp:nvSpPr>
      <dsp:spPr>
        <a:xfrm>
          <a:off x="1356775" y="2848274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4"/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603483-8CA9-4929-979A-6AD6E8DF67A5}">
      <dsp:nvSpPr>
        <dsp:cNvPr id="0" name=""/>
        <dsp:cNvSpPr/>
      </dsp:nvSpPr>
      <dsp:spPr>
        <a:xfrm rot="10800000">
          <a:off x="1722090" y="3797002"/>
          <a:ext cx="6111779" cy="730629"/>
        </a:xfrm>
        <a:prstGeom prst="homePlate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Johari-Fenster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i="1" kern="1200" dirty="0">
              <a:solidFill>
                <a:schemeClr val="tx1"/>
              </a:solidFill>
            </a:rPr>
            <a:t>(Apfel/Kirsch)</a:t>
          </a:r>
        </a:p>
      </dsp:txBody>
      <dsp:txXfrm rot="10800000">
        <a:off x="1904747" y="3797002"/>
        <a:ext cx="5929122" cy="730629"/>
      </dsp:txXfrm>
    </dsp:sp>
    <dsp:sp modelId="{3F80364F-CD31-455E-A0D9-69C1799F3BFE}">
      <dsp:nvSpPr>
        <dsp:cNvPr id="0" name=""/>
        <dsp:cNvSpPr/>
      </dsp:nvSpPr>
      <dsp:spPr>
        <a:xfrm>
          <a:off x="1356775" y="3797002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5"/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8C051B-AB63-403F-A160-E61478D66FCE}">
      <dsp:nvSpPr>
        <dsp:cNvPr id="0" name=""/>
        <dsp:cNvSpPr/>
      </dsp:nvSpPr>
      <dsp:spPr>
        <a:xfrm rot="10800000">
          <a:off x="1722090" y="2091"/>
          <a:ext cx="6111779" cy="730629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Aktives Zuhören</a:t>
          </a:r>
        </a:p>
      </dsp:txBody>
      <dsp:txXfrm rot="10800000">
        <a:off x="1904747" y="2091"/>
        <a:ext cx="5929122" cy="730629"/>
      </dsp:txXfrm>
    </dsp:sp>
    <dsp:sp modelId="{342FFB2F-595A-4F0B-AC66-FC6AC811DFA1}">
      <dsp:nvSpPr>
        <dsp:cNvPr id="0" name=""/>
        <dsp:cNvSpPr/>
      </dsp:nvSpPr>
      <dsp:spPr>
        <a:xfrm>
          <a:off x="1356775" y="2091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F6337D-546F-4971-8C93-B583E0A9F3A4}">
      <dsp:nvSpPr>
        <dsp:cNvPr id="0" name=""/>
        <dsp:cNvSpPr/>
      </dsp:nvSpPr>
      <dsp:spPr>
        <a:xfrm rot="10800000">
          <a:off x="1722090" y="950819"/>
          <a:ext cx="6111779" cy="730629"/>
        </a:xfrm>
        <a:prstGeom prst="homePlate">
          <a:avLst/>
        </a:prstGeom>
        <a:solidFill>
          <a:schemeClr val="accent5">
            <a:hueOff val="-3487505"/>
            <a:satOff val="-987"/>
            <a:lumOff val="-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5 Axiome nach </a:t>
          </a:r>
          <a:r>
            <a:rPr lang="de-DE" sz="2000" kern="1200" dirty="0" err="1">
              <a:solidFill>
                <a:schemeClr val="tx1"/>
              </a:solidFill>
            </a:rPr>
            <a:t>Watzlawik</a:t>
          </a:r>
          <a:endParaRPr lang="de-DE" sz="2000" kern="1200" dirty="0">
            <a:solidFill>
              <a:schemeClr val="tx1"/>
            </a:solidFill>
          </a:endParaRPr>
        </a:p>
      </dsp:txBody>
      <dsp:txXfrm rot="10800000">
        <a:off x="1904747" y="950819"/>
        <a:ext cx="5929122" cy="730629"/>
      </dsp:txXfrm>
    </dsp:sp>
    <dsp:sp modelId="{C03741AC-B658-4ECD-AA0E-629FCD2C1027}">
      <dsp:nvSpPr>
        <dsp:cNvPr id="0" name=""/>
        <dsp:cNvSpPr/>
      </dsp:nvSpPr>
      <dsp:spPr>
        <a:xfrm>
          <a:off x="1356775" y="950819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2"/>
          <a:srcRect/>
          <a:stretch>
            <a:fillRect l="-15000" r="-1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B95053-951C-4BD5-9FAA-ABFB64730EA0}">
      <dsp:nvSpPr>
        <dsp:cNvPr id="0" name=""/>
        <dsp:cNvSpPr/>
      </dsp:nvSpPr>
      <dsp:spPr>
        <a:xfrm rot="10800000">
          <a:off x="1722090" y="1899546"/>
          <a:ext cx="6111779" cy="730629"/>
        </a:xfrm>
        <a:prstGeom prst="homePlate">
          <a:avLst/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Sender-Empfänger Modell – Shannon / Weaver</a:t>
          </a:r>
        </a:p>
      </dsp:txBody>
      <dsp:txXfrm rot="10800000">
        <a:off x="1904747" y="1899546"/>
        <a:ext cx="5929122" cy="730629"/>
      </dsp:txXfrm>
    </dsp:sp>
    <dsp:sp modelId="{09A1625C-073A-456C-9780-040B80F1829B}">
      <dsp:nvSpPr>
        <dsp:cNvPr id="0" name=""/>
        <dsp:cNvSpPr/>
      </dsp:nvSpPr>
      <dsp:spPr>
        <a:xfrm>
          <a:off x="1356775" y="1899546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3"/>
          <a:srcRect/>
          <a:stretch>
            <a:fillRect t="-17000" b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F313D2-F1CA-417E-9B60-BE178D9D79AD}">
      <dsp:nvSpPr>
        <dsp:cNvPr id="0" name=""/>
        <dsp:cNvSpPr/>
      </dsp:nvSpPr>
      <dsp:spPr>
        <a:xfrm rot="10800000">
          <a:off x="1722090" y="2848274"/>
          <a:ext cx="6111779" cy="730629"/>
        </a:xfrm>
        <a:prstGeom prst="homePlate">
          <a:avLst/>
        </a:prstGeom>
        <a:solidFill>
          <a:schemeClr val="accent5">
            <a:hueOff val="-10462514"/>
            <a:satOff val="-2961"/>
            <a:lumOff val="-64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Kommunikationsquadrat – Schulz von Thun</a:t>
          </a:r>
        </a:p>
      </dsp:txBody>
      <dsp:txXfrm rot="10800000">
        <a:off x="1904747" y="2848274"/>
        <a:ext cx="5929122" cy="730629"/>
      </dsp:txXfrm>
    </dsp:sp>
    <dsp:sp modelId="{DBC4E264-41E5-4007-9DD5-B777847AC49E}">
      <dsp:nvSpPr>
        <dsp:cNvPr id="0" name=""/>
        <dsp:cNvSpPr/>
      </dsp:nvSpPr>
      <dsp:spPr>
        <a:xfrm>
          <a:off x="1356775" y="2848274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4"/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603483-8CA9-4929-979A-6AD6E8DF67A5}">
      <dsp:nvSpPr>
        <dsp:cNvPr id="0" name=""/>
        <dsp:cNvSpPr/>
      </dsp:nvSpPr>
      <dsp:spPr>
        <a:xfrm rot="10800000">
          <a:off x="1722090" y="3797002"/>
          <a:ext cx="6111779" cy="730629"/>
        </a:xfrm>
        <a:prstGeom prst="homePlate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Johari-Fenster</a:t>
          </a:r>
        </a:p>
      </dsp:txBody>
      <dsp:txXfrm rot="10800000">
        <a:off x="1904747" y="3797002"/>
        <a:ext cx="5929122" cy="730629"/>
      </dsp:txXfrm>
    </dsp:sp>
    <dsp:sp modelId="{3F80364F-CD31-455E-A0D9-69C1799F3BFE}">
      <dsp:nvSpPr>
        <dsp:cNvPr id="0" name=""/>
        <dsp:cNvSpPr/>
      </dsp:nvSpPr>
      <dsp:spPr>
        <a:xfrm>
          <a:off x="1356775" y="3797002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5"/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8C051B-AB63-403F-A160-E61478D66FCE}">
      <dsp:nvSpPr>
        <dsp:cNvPr id="0" name=""/>
        <dsp:cNvSpPr/>
      </dsp:nvSpPr>
      <dsp:spPr>
        <a:xfrm rot="10800000">
          <a:off x="1722090" y="2091"/>
          <a:ext cx="6111779" cy="730629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Aktives Zuhören</a:t>
          </a:r>
        </a:p>
      </dsp:txBody>
      <dsp:txXfrm rot="10800000">
        <a:off x="1904747" y="2091"/>
        <a:ext cx="5929122" cy="730629"/>
      </dsp:txXfrm>
    </dsp:sp>
    <dsp:sp modelId="{342FFB2F-595A-4F0B-AC66-FC6AC811DFA1}">
      <dsp:nvSpPr>
        <dsp:cNvPr id="0" name=""/>
        <dsp:cNvSpPr/>
      </dsp:nvSpPr>
      <dsp:spPr>
        <a:xfrm>
          <a:off x="1356775" y="2091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F6337D-546F-4971-8C93-B583E0A9F3A4}">
      <dsp:nvSpPr>
        <dsp:cNvPr id="0" name=""/>
        <dsp:cNvSpPr/>
      </dsp:nvSpPr>
      <dsp:spPr>
        <a:xfrm rot="10800000">
          <a:off x="1722090" y="950819"/>
          <a:ext cx="6111779" cy="730629"/>
        </a:xfrm>
        <a:prstGeom prst="homePlate">
          <a:avLst/>
        </a:prstGeom>
        <a:solidFill>
          <a:schemeClr val="accent5">
            <a:hueOff val="-3487505"/>
            <a:satOff val="-987"/>
            <a:lumOff val="-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5 Axiome nach </a:t>
          </a:r>
          <a:r>
            <a:rPr lang="de-DE" sz="2000" kern="1200" dirty="0" err="1">
              <a:solidFill>
                <a:schemeClr val="tx1"/>
              </a:solidFill>
            </a:rPr>
            <a:t>Watzlawik</a:t>
          </a:r>
          <a:endParaRPr lang="de-DE" sz="2000" kern="1200" dirty="0">
            <a:solidFill>
              <a:schemeClr val="tx1"/>
            </a:solidFill>
          </a:endParaRPr>
        </a:p>
      </dsp:txBody>
      <dsp:txXfrm rot="10800000">
        <a:off x="1904747" y="950819"/>
        <a:ext cx="5929122" cy="730629"/>
      </dsp:txXfrm>
    </dsp:sp>
    <dsp:sp modelId="{C03741AC-B658-4ECD-AA0E-629FCD2C1027}">
      <dsp:nvSpPr>
        <dsp:cNvPr id="0" name=""/>
        <dsp:cNvSpPr/>
      </dsp:nvSpPr>
      <dsp:spPr>
        <a:xfrm>
          <a:off x="1356775" y="950819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2"/>
          <a:srcRect/>
          <a:stretch>
            <a:fillRect l="-15000" r="-1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B95053-951C-4BD5-9FAA-ABFB64730EA0}">
      <dsp:nvSpPr>
        <dsp:cNvPr id="0" name=""/>
        <dsp:cNvSpPr/>
      </dsp:nvSpPr>
      <dsp:spPr>
        <a:xfrm rot="10800000">
          <a:off x="1722090" y="1899546"/>
          <a:ext cx="6111779" cy="730629"/>
        </a:xfrm>
        <a:prstGeom prst="homePlate">
          <a:avLst/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Sender-Empfänger Modell – Shannon / Weaver</a:t>
          </a:r>
        </a:p>
      </dsp:txBody>
      <dsp:txXfrm rot="10800000">
        <a:off x="1904747" y="1899546"/>
        <a:ext cx="5929122" cy="730629"/>
      </dsp:txXfrm>
    </dsp:sp>
    <dsp:sp modelId="{09A1625C-073A-456C-9780-040B80F1829B}">
      <dsp:nvSpPr>
        <dsp:cNvPr id="0" name=""/>
        <dsp:cNvSpPr/>
      </dsp:nvSpPr>
      <dsp:spPr>
        <a:xfrm>
          <a:off x="1356775" y="1899546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3"/>
          <a:srcRect/>
          <a:stretch>
            <a:fillRect t="-17000" b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F313D2-F1CA-417E-9B60-BE178D9D79AD}">
      <dsp:nvSpPr>
        <dsp:cNvPr id="0" name=""/>
        <dsp:cNvSpPr/>
      </dsp:nvSpPr>
      <dsp:spPr>
        <a:xfrm rot="10800000">
          <a:off x="1722090" y="2848274"/>
          <a:ext cx="6111779" cy="730629"/>
        </a:xfrm>
        <a:prstGeom prst="homePlate">
          <a:avLst/>
        </a:prstGeom>
        <a:solidFill>
          <a:schemeClr val="accent5">
            <a:hueOff val="-10462514"/>
            <a:satOff val="-2961"/>
            <a:lumOff val="-64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Kommunikationsquadrat – Schulz von Thun</a:t>
          </a:r>
        </a:p>
      </dsp:txBody>
      <dsp:txXfrm rot="10800000">
        <a:off x="1904747" y="2848274"/>
        <a:ext cx="5929122" cy="730629"/>
      </dsp:txXfrm>
    </dsp:sp>
    <dsp:sp modelId="{DBC4E264-41E5-4007-9DD5-B777847AC49E}">
      <dsp:nvSpPr>
        <dsp:cNvPr id="0" name=""/>
        <dsp:cNvSpPr/>
      </dsp:nvSpPr>
      <dsp:spPr>
        <a:xfrm>
          <a:off x="1356775" y="2848274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4"/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603483-8CA9-4929-979A-6AD6E8DF67A5}">
      <dsp:nvSpPr>
        <dsp:cNvPr id="0" name=""/>
        <dsp:cNvSpPr/>
      </dsp:nvSpPr>
      <dsp:spPr>
        <a:xfrm rot="10800000">
          <a:off x="1722090" y="3797002"/>
          <a:ext cx="6111779" cy="730629"/>
        </a:xfrm>
        <a:prstGeom prst="homePlate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2187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Johari-Fenster</a:t>
          </a:r>
        </a:p>
      </dsp:txBody>
      <dsp:txXfrm rot="10800000">
        <a:off x="1904747" y="3797002"/>
        <a:ext cx="5929122" cy="730629"/>
      </dsp:txXfrm>
    </dsp:sp>
    <dsp:sp modelId="{3F80364F-CD31-455E-A0D9-69C1799F3BFE}">
      <dsp:nvSpPr>
        <dsp:cNvPr id="0" name=""/>
        <dsp:cNvSpPr/>
      </dsp:nvSpPr>
      <dsp:spPr>
        <a:xfrm>
          <a:off x="1356775" y="3797002"/>
          <a:ext cx="730629" cy="730629"/>
        </a:xfrm>
        <a:prstGeom prst="ellipse">
          <a:avLst/>
        </a:prstGeom>
        <a:blipFill rotWithShape="1">
          <a:blip xmlns:r="http://schemas.openxmlformats.org/officeDocument/2006/relationships" r:embed="rId5"/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306BC8-C901-47D8-B216-3787E18A332B}">
      <dsp:nvSpPr>
        <dsp:cNvPr id="0" name=""/>
        <dsp:cNvSpPr/>
      </dsp:nvSpPr>
      <dsp:spPr>
        <a:xfrm rot="16200000">
          <a:off x="-1712813" y="2704249"/>
          <a:ext cx="4087368" cy="5258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63802" bIns="0" numCol="1" spcCol="1270" anchor="t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tx1"/>
              </a:solidFill>
            </a:rPr>
            <a:t>Bedingungen</a:t>
          </a:r>
        </a:p>
      </dsp:txBody>
      <dsp:txXfrm>
        <a:off x="-1712813" y="2704249"/>
        <a:ext cx="4087368" cy="525885"/>
      </dsp:txXfrm>
    </dsp:sp>
    <dsp:sp modelId="{DA298790-E298-4A31-A331-A25CE00E3968}">
      <dsp:nvSpPr>
        <dsp:cNvPr id="0" name=""/>
        <dsp:cNvSpPr/>
      </dsp:nvSpPr>
      <dsp:spPr>
        <a:xfrm>
          <a:off x="593813" y="923508"/>
          <a:ext cx="2619469" cy="40873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463802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Zeit &amp; Ort wähl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Besetzung &amp; Dienstplan beach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Ruhige Atmosphäre schaff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Raum vorbereiten (Getränk?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4-Augen-Gespräch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Max. 20 Minu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Kein Zeitdruck</a:t>
          </a:r>
        </a:p>
      </dsp:txBody>
      <dsp:txXfrm>
        <a:off x="593813" y="923508"/>
        <a:ext cx="2619469" cy="4087368"/>
      </dsp:txXfrm>
    </dsp:sp>
    <dsp:sp modelId="{A3F0A306-227F-4CEE-976F-19EE2D23D21E}">
      <dsp:nvSpPr>
        <dsp:cNvPr id="0" name=""/>
        <dsp:cNvSpPr/>
      </dsp:nvSpPr>
      <dsp:spPr>
        <a:xfrm>
          <a:off x="67927" y="229339"/>
          <a:ext cx="1051771" cy="105177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24BE29-B051-4F7A-9776-6833F03D0B47}">
      <dsp:nvSpPr>
        <dsp:cNvPr id="0" name=""/>
        <dsp:cNvSpPr/>
      </dsp:nvSpPr>
      <dsp:spPr>
        <a:xfrm rot="16200000">
          <a:off x="2118693" y="2704249"/>
          <a:ext cx="4087368" cy="5258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63802" bIns="0" numCol="1" spcCol="1270" anchor="t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tx1"/>
              </a:solidFill>
            </a:rPr>
            <a:t>Inhalte</a:t>
          </a:r>
        </a:p>
      </dsp:txBody>
      <dsp:txXfrm>
        <a:off x="2118693" y="2704249"/>
        <a:ext cx="4087368" cy="525885"/>
      </dsp:txXfrm>
    </dsp:sp>
    <dsp:sp modelId="{E2069983-7782-4A15-BC96-411534486F36}">
      <dsp:nvSpPr>
        <dsp:cNvPr id="0" name=""/>
        <dsp:cNvSpPr/>
      </dsp:nvSpPr>
      <dsp:spPr>
        <a:xfrm>
          <a:off x="4425320" y="923508"/>
          <a:ext cx="2619469" cy="4087368"/>
        </a:xfrm>
        <a:prstGeom prst="rect">
          <a:avLst/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463802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Struktur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Absprache /Abstimmung der gesetzten Ziele für diese Anleitungssituation – eigene Aufzeichnung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Ziele abgleich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Ermittlung der Lernstand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Verhaltensabsprachen, ggf. Notsignal vereinbar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Anleitungsmodell vorstellen und besprech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Offene Fragen klären</a:t>
          </a:r>
        </a:p>
      </dsp:txBody>
      <dsp:txXfrm>
        <a:off x="4425320" y="923508"/>
        <a:ext cx="2619469" cy="4087368"/>
      </dsp:txXfrm>
    </dsp:sp>
    <dsp:sp modelId="{62433E2D-66E4-4ABC-A6E5-30009C21DB69}">
      <dsp:nvSpPr>
        <dsp:cNvPr id="0" name=""/>
        <dsp:cNvSpPr/>
      </dsp:nvSpPr>
      <dsp:spPr>
        <a:xfrm>
          <a:off x="3899434" y="229339"/>
          <a:ext cx="1051771" cy="105177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C1F913-E2BE-4429-A2B1-A460FABD3FF8}">
      <dsp:nvSpPr>
        <dsp:cNvPr id="0" name=""/>
        <dsp:cNvSpPr/>
      </dsp:nvSpPr>
      <dsp:spPr>
        <a:xfrm rot="16200000">
          <a:off x="5950199" y="2704249"/>
          <a:ext cx="4087368" cy="5258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63802" bIns="0" numCol="1" spcCol="1270" anchor="t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tx1"/>
              </a:solidFill>
            </a:rPr>
            <a:t>Kommunikation</a:t>
          </a:r>
        </a:p>
      </dsp:txBody>
      <dsp:txXfrm>
        <a:off x="5950199" y="2704249"/>
        <a:ext cx="4087368" cy="525885"/>
      </dsp:txXfrm>
    </dsp:sp>
    <dsp:sp modelId="{F3A52D6A-BB84-4552-A5A1-E81D0A9FA4E8}">
      <dsp:nvSpPr>
        <dsp:cNvPr id="0" name=""/>
        <dsp:cNvSpPr/>
      </dsp:nvSpPr>
      <dsp:spPr>
        <a:xfrm>
          <a:off x="8256827" y="923508"/>
          <a:ext cx="2619469" cy="4087368"/>
        </a:xfrm>
        <a:prstGeom prst="rect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463802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Bezugskontakt herstellen (Begrüßung, Offenheit, Freundlichkeit, Respekt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Körpersprache beachten (eigene &amp; die der anzuleitenden Person)</a:t>
          </a:r>
        </a:p>
      </dsp:txBody>
      <dsp:txXfrm>
        <a:off x="8256827" y="923508"/>
        <a:ext cx="2619469" cy="4087368"/>
      </dsp:txXfrm>
    </dsp:sp>
    <dsp:sp modelId="{B63F6120-DBA3-4DB3-BF7C-B8AF890F46F0}">
      <dsp:nvSpPr>
        <dsp:cNvPr id="0" name=""/>
        <dsp:cNvSpPr/>
      </dsp:nvSpPr>
      <dsp:spPr>
        <a:xfrm>
          <a:off x="7730941" y="229339"/>
          <a:ext cx="1051771" cy="105177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306BC8-C901-47D8-B216-3787E18A332B}">
      <dsp:nvSpPr>
        <dsp:cNvPr id="0" name=""/>
        <dsp:cNvSpPr/>
      </dsp:nvSpPr>
      <dsp:spPr>
        <a:xfrm rot="16200000">
          <a:off x="-1712813" y="2704249"/>
          <a:ext cx="4087368" cy="5258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63802" bIns="0" numCol="1" spcCol="1270" anchor="t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bg2"/>
              </a:solidFill>
            </a:rPr>
            <a:t>Bedingungen</a:t>
          </a:r>
        </a:p>
      </dsp:txBody>
      <dsp:txXfrm>
        <a:off x="-1712813" y="2704249"/>
        <a:ext cx="4087368" cy="525885"/>
      </dsp:txXfrm>
    </dsp:sp>
    <dsp:sp modelId="{DA298790-E298-4A31-A331-A25CE00E3968}">
      <dsp:nvSpPr>
        <dsp:cNvPr id="0" name=""/>
        <dsp:cNvSpPr/>
      </dsp:nvSpPr>
      <dsp:spPr>
        <a:xfrm>
          <a:off x="593813" y="923508"/>
          <a:ext cx="2619469" cy="40873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463802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Zeit &amp; Ort wähl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Besetzung &amp; Dienstplan beach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Ruhige Atmosphäre schaff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Raum vorbereiten (Getränk?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4-Augen-Gespräch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Max. 20 Minu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Kein Zeitdruck</a:t>
          </a:r>
        </a:p>
      </dsp:txBody>
      <dsp:txXfrm>
        <a:off x="593813" y="923508"/>
        <a:ext cx="2619469" cy="4087368"/>
      </dsp:txXfrm>
    </dsp:sp>
    <dsp:sp modelId="{A3F0A306-227F-4CEE-976F-19EE2D23D21E}">
      <dsp:nvSpPr>
        <dsp:cNvPr id="0" name=""/>
        <dsp:cNvSpPr/>
      </dsp:nvSpPr>
      <dsp:spPr>
        <a:xfrm>
          <a:off x="67927" y="229339"/>
          <a:ext cx="1051771" cy="105177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24BE29-B051-4F7A-9776-6833F03D0B47}">
      <dsp:nvSpPr>
        <dsp:cNvPr id="0" name=""/>
        <dsp:cNvSpPr/>
      </dsp:nvSpPr>
      <dsp:spPr>
        <a:xfrm rot="16200000">
          <a:off x="2118693" y="2704249"/>
          <a:ext cx="4087368" cy="5258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63802" bIns="0" numCol="1" spcCol="1270" anchor="t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bg2"/>
              </a:solidFill>
            </a:rPr>
            <a:t>Inhalte</a:t>
          </a:r>
        </a:p>
      </dsp:txBody>
      <dsp:txXfrm>
        <a:off x="2118693" y="2704249"/>
        <a:ext cx="4087368" cy="525885"/>
      </dsp:txXfrm>
    </dsp:sp>
    <dsp:sp modelId="{E2069983-7782-4A15-BC96-411534486F36}">
      <dsp:nvSpPr>
        <dsp:cNvPr id="0" name=""/>
        <dsp:cNvSpPr/>
      </dsp:nvSpPr>
      <dsp:spPr>
        <a:xfrm>
          <a:off x="4425320" y="923508"/>
          <a:ext cx="2619469" cy="4087368"/>
        </a:xfrm>
        <a:prstGeom prst="rect">
          <a:avLst/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463802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Struktur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Absprache /Abstimmung der gesetzten Ziele für diese Anleitungssituation – eigene Aufzeichnung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Ziele abgleich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Ermittlung der Lernstand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Verhaltensabsprachen, ggf. Notsignal vereinbar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Anleitungsmodell vorstellen und besprech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Offene Fragen klären</a:t>
          </a:r>
        </a:p>
      </dsp:txBody>
      <dsp:txXfrm>
        <a:off x="4425320" y="923508"/>
        <a:ext cx="2619469" cy="4087368"/>
      </dsp:txXfrm>
    </dsp:sp>
    <dsp:sp modelId="{62433E2D-66E4-4ABC-A6E5-30009C21DB69}">
      <dsp:nvSpPr>
        <dsp:cNvPr id="0" name=""/>
        <dsp:cNvSpPr/>
      </dsp:nvSpPr>
      <dsp:spPr>
        <a:xfrm>
          <a:off x="3899434" y="229339"/>
          <a:ext cx="1051771" cy="105177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C1F913-E2BE-4429-A2B1-A460FABD3FF8}">
      <dsp:nvSpPr>
        <dsp:cNvPr id="0" name=""/>
        <dsp:cNvSpPr/>
      </dsp:nvSpPr>
      <dsp:spPr>
        <a:xfrm rot="16200000">
          <a:off x="5950199" y="2704249"/>
          <a:ext cx="4087368" cy="5258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63802" bIns="0" numCol="1" spcCol="1270" anchor="t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bg2"/>
              </a:solidFill>
            </a:rPr>
            <a:t>Kommunikation</a:t>
          </a:r>
        </a:p>
      </dsp:txBody>
      <dsp:txXfrm>
        <a:off x="5950199" y="2704249"/>
        <a:ext cx="4087368" cy="525885"/>
      </dsp:txXfrm>
    </dsp:sp>
    <dsp:sp modelId="{F3A52D6A-BB84-4552-A5A1-E81D0A9FA4E8}">
      <dsp:nvSpPr>
        <dsp:cNvPr id="0" name=""/>
        <dsp:cNvSpPr/>
      </dsp:nvSpPr>
      <dsp:spPr>
        <a:xfrm>
          <a:off x="8256827" y="923508"/>
          <a:ext cx="2619469" cy="4087368"/>
        </a:xfrm>
        <a:prstGeom prst="rect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463802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Bezugskontakt herstellen (Begrüßung, Offenheit, Freundlichkeit, Respekt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bg2"/>
              </a:solidFill>
            </a:rPr>
            <a:t>Körpersprache beachten (eigene &amp; die der anzuleitenden Person)</a:t>
          </a:r>
        </a:p>
      </dsp:txBody>
      <dsp:txXfrm>
        <a:off x="8256827" y="923508"/>
        <a:ext cx="2619469" cy="4087368"/>
      </dsp:txXfrm>
    </dsp:sp>
    <dsp:sp modelId="{B63F6120-DBA3-4DB3-BF7C-B8AF890F46F0}">
      <dsp:nvSpPr>
        <dsp:cNvPr id="0" name=""/>
        <dsp:cNvSpPr/>
      </dsp:nvSpPr>
      <dsp:spPr>
        <a:xfrm>
          <a:off x="7730941" y="229339"/>
          <a:ext cx="1051771" cy="105177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306BC8-C901-47D8-B216-3787E18A332B}">
      <dsp:nvSpPr>
        <dsp:cNvPr id="0" name=""/>
        <dsp:cNvSpPr/>
      </dsp:nvSpPr>
      <dsp:spPr>
        <a:xfrm rot="16200000">
          <a:off x="-1712813" y="2704249"/>
          <a:ext cx="4087368" cy="5258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63802" bIns="0" numCol="1" spcCol="1270" anchor="t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tx1"/>
              </a:solidFill>
            </a:rPr>
            <a:t>Bedingungen</a:t>
          </a:r>
        </a:p>
      </dsp:txBody>
      <dsp:txXfrm>
        <a:off x="-1712813" y="2704249"/>
        <a:ext cx="4087368" cy="525885"/>
      </dsp:txXfrm>
    </dsp:sp>
    <dsp:sp modelId="{DA298790-E298-4A31-A331-A25CE00E3968}">
      <dsp:nvSpPr>
        <dsp:cNvPr id="0" name=""/>
        <dsp:cNvSpPr/>
      </dsp:nvSpPr>
      <dsp:spPr>
        <a:xfrm>
          <a:off x="593813" y="923508"/>
          <a:ext cx="2619469" cy="40873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463802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Zeit &amp; Ort wähl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Unmittelbar nach Anleitung, nach kurzer Pause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Auch später möglich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Ruhige &amp; vertrauensvolle Atmosphäre schaff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Raum vorbereiten (Getränk?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4-Augen-Gespräch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Max. 20 Minu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Kein Zeitdruck</a:t>
          </a:r>
        </a:p>
      </dsp:txBody>
      <dsp:txXfrm>
        <a:off x="593813" y="923508"/>
        <a:ext cx="2619469" cy="4087368"/>
      </dsp:txXfrm>
    </dsp:sp>
    <dsp:sp modelId="{A3F0A306-227F-4CEE-976F-19EE2D23D21E}">
      <dsp:nvSpPr>
        <dsp:cNvPr id="0" name=""/>
        <dsp:cNvSpPr/>
      </dsp:nvSpPr>
      <dsp:spPr>
        <a:xfrm>
          <a:off x="67927" y="229339"/>
          <a:ext cx="1051771" cy="105177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24BE29-B051-4F7A-9776-6833F03D0B47}">
      <dsp:nvSpPr>
        <dsp:cNvPr id="0" name=""/>
        <dsp:cNvSpPr/>
      </dsp:nvSpPr>
      <dsp:spPr>
        <a:xfrm rot="16200000">
          <a:off x="2118693" y="2704249"/>
          <a:ext cx="4087368" cy="5258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63802" bIns="0" numCol="1" spcCol="1270" anchor="t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tx1"/>
              </a:solidFill>
            </a:rPr>
            <a:t>Inhalte</a:t>
          </a:r>
        </a:p>
      </dsp:txBody>
      <dsp:txXfrm>
        <a:off x="2118693" y="2704249"/>
        <a:ext cx="4087368" cy="525885"/>
      </dsp:txXfrm>
    </dsp:sp>
    <dsp:sp modelId="{E2069983-7782-4A15-BC96-411534486F36}">
      <dsp:nvSpPr>
        <dsp:cNvPr id="0" name=""/>
        <dsp:cNvSpPr/>
      </dsp:nvSpPr>
      <dsp:spPr>
        <a:xfrm>
          <a:off x="4425320" y="923508"/>
          <a:ext cx="2619469" cy="4087368"/>
        </a:xfrm>
        <a:prstGeom prst="rect">
          <a:avLst/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463802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Erreichen der Ziele abgleich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Gedankenaustausch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Selbsteinschätzung der/des Anzuleitend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Feedback geb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Feedback &amp; Selbsteinschätzung anhand der geplanten Kompetenzen &amp; Ziel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Ggf. Neuplanung und Dokumentation</a:t>
          </a:r>
        </a:p>
      </dsp:txBody>
      <dsp:txXfrm>
        <a:off x="4425320" y="923508"/>
        <a:ext cx="2619469" cy="4087368"/>
      </dsp:txXfrm>
    </dsp:sp>
    <dsp:sp modelId="{62433E2D-66E4-4ABC-A6E5-30009C21DB69}">
      <dsp:nvSpPr>
        <dsp:cNvPr id="0" name=""/>
        <dsp:cNvSpPr/>
      </dsp:nvSpPr>
      <dsp:spPr>
        <a:xfrm>
          <a:off x="3899434" y="229339"/>
          <a:ext cx="1051771" cy="105177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C1F913-E2BE-4429-A2B1-A460FABD3FF8}">
      <dsp:nvSpPr>
        <dsp:cNvPr id="0" name=""/>
        <dsp:cNvSpPr/>
      </dsp:nvSpPr>
      <dsp:spPr>
        <a:xfrm rot="16200000">
          <a:off x="5950199" y="2704249"/>
          <a:ext cx="4087368" cy="5258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63802" bIns="0" numCol="1" spcCol="1270" anchor="t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tx1"/>
              </a:solidFill>
            </a:rPr>
            <a:t>Kommunikation</a:t>
          </a:r>
        </a:p>
      </dsp:txBody>
      <dsp:txXfrm>
        <a:off x="5950199" y="2704249"/>
        <a:ext cx="4087368" cy="525885"/>
      </dsp:txXfrm>
    </dsp:sp>
    <dsp:sp modelId="{F3A52D6A-BB84-4552-A5A1-E81D0A9FA4E8}">
      <dsp:nvSpPr>
        <dsp:cNvPr id="0" name=""/>
        <dsp:cNvSpPr/>
      </dsp:nvSpPr>
      <dsp:spPr>
        <a:xfrm>
          <a:off x="8256827" y="923508"/>
          <a:ext cx="2619469" cy="4087368"/>
        </a:xfrm>
        <a:prstGeom prst="rect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463802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Bezugskontakt herstellen (Begrüßung, Offenheit, Freundlichkeit, Respekt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Aktives Zuhör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Körpersprache beachten (eigene &amp; die der anzuleitenden Person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>
              <a:solidFill>
                <a:schemeClr val="tx1"/>
              </a:solidFill>
            </a:rPr>
            <a:t>Feedback geben</a:t>
          </a:r>
        </a:p>
      </dsp:txBody>
      <dsp:txXfrm>
        <a:off x="8256827" y="923508"/>
        <a:ext cx="2619469" cy="4087368"/>
      </dsp:txXfrm>
    </dsp:sp>
    <dsp:sp modelId="{B63F6120-DBA3-4DB3-BF7C-B8AF890F46F0}">
      <dsp:nvSpPr>
        <dsp:cNvPr id="0" name=""/>
        <dsp:cNvSpPr/>
      </dsp:nvSpPr>
      <dsp:spPr>
        <a:xfrm>
          <a:off x="7730941" y="229339"/>
          <a:ext cx="1051771" cy="105177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653187-C3F3-4386-88F7-9E868007E750}">
      <dsp:nvSpPr>
        <dsp:cNvPr id="0" name=""/>
        <dsp:cNvSpPr/>
      </dsp:nvSpPr>
      <dsp:spPr>
        <a:xfrm>
          <a:off x="1524979" y="253406"/>
          <a:ext cx="1925001" cy="1925001"/>
        </a:xfrm>
        <a:prstGeom prst="pieWedg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Fach-kompetenz</a:t>
          </a:r>
        </a:p>
      </dsp:txBody>
      <dsp:txXfrm>
        <a:off x="2088799" y="817226"/>
        <a:ext cx="1361181" cy="1361181"/>
      </dsp:txXfrm>
    </dsp:sp>
    <dsp:sp modelId="{BD59D96E-82A6-4612-BA89-3E5323DE8885}">
      <dsp:nvSpPr>
        <dsp:cNvPr id="0" name=""/>
        <dsp:cNvSpPr/>
      </dsp:nvSpPr>
      <dsp:spPr>
        <a:xfrm rot="5400000">
          <a:off x="3538895" y="253406"/>
          <a:ext cx="1925001" cy="1925001"/>
        </a:xfrm>
        <a:prstGeom prst="pieWedge">
          <a:avLst/>
        </a:prstGeom>
        <a:solidFill>
          <a:schemeClr val="accent5">
            <a:hueOff val="-4650006"/>
            <a:satOff val="-1316"/>
            <a:lumOff val="-28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Methoden-kompetenz</a:t>
          </a:r>
        </a:p>
      </dsp:txBody>
      <dsp:txXfrm rot="-5400000">
        <a:off x="3538895" y="817226"/>
        <a:ext cx="1361181" cy="1361181"/>
      </dsp:txXfrm>
    </dsp:sp>
    <dsp:sp modelId="{F524F590-1BEB-40A7-B022-D74430C54FD7}">
      <dsp:nvSpPr>
        <dsp:cNvPr id="0" name=""/>
        <dsp:cNvSpPr/>
      </dsp:nvSpPr>
      <dsp:spPr>
        <a:xfrm rot="10800000">
          <a:off x="3538895" y="2267322"/>
          <a:ext cx="1925001" cy="1925001"/>
        </a:xfrm>
        <a:prstGeom prst="pieWedge">
          <a:avLst/>
        </a:prstGeom>
        <a:solidFill>
          <a:schemeClr val="accent5">
            <a:hueOff val="-9300013"/>
            <a:satOff val="-2632"/>
            <a:lumOff val="-57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Sozial-kompetenz</a:t>
          </a:r>
        </a:p>
      </dsp:txBody>
      <dsp:txXfrm rot="10800000">
        <a:off x="3538895" y="2267322"/>
        <a:ext cx="1361181" cy="1361181"/>
      </dsp:txXfrm>
    </dsp:sp>
    <dsp:sp modelId="{20659C38-E743-4B14-9908-4F8DDC1CA57D}">
      <dsp:nvSpPr>
        <dsp:cNvPr id="0" name=""/>
        <dsp:cNvSpPr/>
      </dsp:nvSpPr>
      <dsp:spPr>
        <a:xfrm rot="16200000">
          <a:off x="1524979" y="2267322"/>
          <a:ext cx="1925001" cy="1925001"/>
        </a:xfrm>
        <a:prstGeom prst="pieWedge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Personal-kompetenz</a:t>
          </a:r>
        </a:p>
      </dsp:txBody>
      <dsp:txXfrm rot="5400000">
        <a:off x="2088799" y="2267322"/>
        <a:ext cx="1361181" cy="1361181"/>
      </dsp:txXfrm>
    </dsp:sp>
    <dsp:sp modelId="{8A30DC33-EEC1-4E2D-8153-37CA203BDF71}">
      <dsp:nvSpPr>
        <dsp:cNvPr id="0" name=""/>
        <dsp:cNvSpPr/>
      </dsp:nvSpPr>
      <dsp:spPr>
        <a:xfrm>
          <a:off x="3162119" y="1822749"/>
          <a:ext cx="664636" cy="577945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F58E0E-7F99-4F9A-993A-3AD72F2450B2}">
      <dsp:nvSpPr>
        <dsp:cNvPr id="0" name=""/>
        <dsp:cNvSpPr/>
      </dsp:nvSpPr>
      <dsp:spPr>
        <a:xfrm rot="10800000">
          <a:off x="3162119" y="2045036"/>
          <a:ext cx="664636" cy="577945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653187-C3F3-4386-88F7-9E868007E750}">
      <dsp:nvSpPr>
        <dsp:cNvPr id="0" name=""/>
        <dsp:cNvSpPr/>
      </dsp:nvSpPr>
      <dsp:spPr>
        <a:xfrm>
          <a:off x="1524979" y="253406"/>
          <a:ext cx="1925001" cy="1925001"/>
        </a:xfrm>
        <a:prstGeom prst="pieWedg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Fach-kompetenz</a:t>
          </a:r>
        </a:p>
      </dsp:txBody>
      <dsp:txXfrm>
        <a:off x="2088799" y="817226"/>
        <a:ext cx="1361181" cy="1361181"/>
      </dsp:txXfrm>
    </dsp:sp>
    <dsp:sp modelId="{BD59D96E-82A6-4612-BA89-3E5323DE8885}">
      <dsp:nvSpPr>
        <dsp:cNvPr id="0" name=""/>
        <dsp:cNvSpPr/>
      </dsp:nvSpPr>
      <dsp:spPr>
        <a:xfrm rot="5400000">
          <a:off x="3538895" y="253406"/>
          <a:ext cx="1925001" cy="1925001"/>
        </a:xfrm>
        <a:prstGeom prst="pieWedge">
          <a:avLst/>
        </a:prstGeom>
        <a:solidFill>
          <a:schemeClr val="accent5">
            <a:hueOff val="-4650006"/>
            <a:satOff val="-1316"/>
            <a:lumOff val="-28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Methoden-kompetenz</a:t>
          </a:r>
        </a:p>
      </dsp:txBody>
      <dsp:txXfrm rot="-5400000">
        <a:off x="3538895" y="817226"/>
        <a:ext cx="1361181" cy="1361181"/>
      </dsp:txXfrm>
    </dsp:sp>
    <dsp:sp modelId="{F524F590-1BEB-40A7-B022-D74430C54FD7}">
      <dsp:nvSpPr>
        <dsp:cNvPr id="0" name=""/>
        <dsp:cNvSpPr/>
      </dsp:nvSpPr>
      <dsp:spPr>
        <a:xfrm rot="10800000">
          <a:off x="3538895" y="2267322"/>
          <a:ext cx="1925001" cy="1925001"/>
        </a:xfrm>
        <a:prstGeom prst="pieWedge">
          <a:avLst/>
        </a:prstGeom>
        <a:solidFill>
          <a:schemeClr val="accent5">
            <a:hueOff val="-9300013"/>
            <a:satOff val="-2632"/>
            <a:lumOff val="-57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Sozial-kompetenz</a:t>
          </a:r>
        </a:p>
      </dsp:txBody>
      <dsp:txXfrm rot="10800000">
        <a:off x="3538895" y="2267322"/>
        <a:ext cx="1361181" cy="1361181"/>
      </dsp:txXfrm>
    </dsp:sp>
    <dsp:sp modelId="{20659C38-E743-4B14-9908-4F8DDC1CA57D}">
      <dsp:nvSpPr>
        <dsp:cNvPr id="0" name=""/>
        <dsp:cNvSpPr/>
      </dsp:nvSpPr>
      <dsp:spPr>
        <a:xfrm rot="16200000">
          <a:off x="1524979" y="2267322"/>
          <a:ext cx="1925001" cy="1925001"/>
        </a:xfrm>
        <a:prstGeom prst="pieWedge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Personal-kompetenz</a:t>
          </a:r>
        </a:p>
      </dsp:txBody>
      <dsp:txXfrm rot="5400000">
        <a:off x="2088799" y="2267322"/>
        <a:ext cx="1361181" cy="1361181"/>
      </dsp:txXfrm>
    </dsp:sp>
    <dsp:sp modelId="{8A30DC33-EEC1-4E2D-8153-37CA203BDF71}">
      <dsp:nvSpPr>
        <dsp:cNvPr id="0" name=""/>
        <dsp:cNvSpPr/>
      </dsp:nvSpPr>
      <dsp:spPr>
        <a:xfrm>
          <a:off x="3162119" y="1822749"/>
          <a:ext cx="664636" cy="577945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F58E0E-7F99-4F9A-993A-3AD72F2450B2}">
      <dsp:nvSpPr>
        <dsp:cNvPr id="0" name=""/>
        <dsp:cNvSpPr/>
      </dsp:nvSpPr>
      <dsp:spPr>
        <a:xfrm rot="10800000">
          <a:off x="3162119" y="2045036"/>
          <a:ext cx="664636" cy="577945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653187-C3F3-4386-88F7-9E868007E750}">
      <dsp:nvSpPr>
        <dsp:cNvPr id="0" name=""/>
        <dsp:cNvSpPr/>
      </dsp:nvSpPr>
      <dsp:spPr>
        <a:xfrm>
          <a:off x="576488" y="318646"/>
          <a:ext cx="1205891" cy="1205891"/>
        </a:xfrm>
        <a:prstGeom prst="pieWedg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tx1"/>
              </a:solidFill>
            </a:rPr>
            <a:t>Fach-kompetenz</a:t>
          </a:r>
        </a:p>
      </dsp:txBody>
      <dsp:txXfrm>
        <a:off x="929685" y="671843"/>
        <a:ext cx="852694" cy="852694"/>
      </dsp:txXfrm>
    </dsp:sp>
    <dsp:sp modelId="{BD59D96E-82A6-4612-BA89-3E5323DE8885}">
      <dsp:nvSpPr>
        <dsp:cNvPr id="0" name=""/>
        <dsp:cNvSpPr/>
      </dsp:nvSpPr>
      <dsp:spPr>
        <a:xfrm rot="5400000">
          <a:off x="1838079" y="318646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Methoden-kompetenz</a:t>
          </a:r>
        </a:p>
      </dsp:txBody>
      <dsp:txXfrm rot="-5400000">
        <a:off x="1838079" y="671843"/>
        <a:ext cx="852694" cy="852694"/>
      </dsp:txXfrm>
    </dsp:sp>
    <dsp:sp modelId="{F524F590-1BEB-40A7-B022-D74430C54FD7}">
      <dsp:nvSpPr>
        <dsp:cNvPr id="0" name=""/>
        <dsp:cNvSpPr/>
      </dsp:nvSpPr>
      <dsp:spPr>
        <a:xfrm rot="10800000">
          <a:off x="1838079" y="1580237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Sozial-kompetenz</a:t>
          </a:r>
        </a:p>
      </dsp:txBody>
      <dsp:txXfrm rot="10800000">
        <a:off x="1838079" y="1580237"/>
        <a:ext cx="852694" cy="852694"/>
      </dsp:txXfrm>
    </dsp:sp>
    <dsp:sp modelId="{20659C38-E743-4B14-9908-4F8DDC1CA57D}">
      <dsp:nvSpPr>
        <dsp:cNvPr id="0" name=""/>
        <dsp:cNvSpPr/>
      </dsp:nvSpPr>
      <dsp:spPr>
        <a:xfrm rot="16200000">
          <a:off x="576488" y="1580237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Personal-kompetenz</a:t>
          </a:r>
        </a:p>
      </dsp:txBody>
      <dsp:txXfrm rot="5400000">
        <a:off x="929685" y="1580237"/>
        <a:ext cx="852694" cy="852694"/>
      </dsp:txXfrm>
    </dsp:sp>
    <dsp:sp modelId="{8A30DC33-EEC1-4E2D-8153-37CA203BDF71}">
      <dsp:nvSpPr>
        <dsp:cNvPr id="0" name=""/>
        <dsp:cNvSpPr/>
      </dsp:nvSpPr>
      <dsp:spPr>
        <a:xfrm>
          <a:off x="1602053" y="1301740"/>
          <a:ext cx="416352" cy="362046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F58E0E-7F99-4F9A-993A-3AD72F2450B2}">
      <dsp:nvSpPr>
        <dsp:cNvPr id="0" name=""/>
        <dsp:cNvSpPr/>
      </dsp:nvSpPr>
      <dsp:spPr>
        <a:xfrm rot="10800000">
          <a:off x="1602053" y="1440988"/>
          <a:ext cx="416352" cy="362046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0AD5C4-9FF5-4754-8F6E-E247F4406CF3}">
      <dsp:nvSpPr>
        <dsp:cNvPr id="0" name=""/>
        <dsp:cNvSpPr/>
      </dsp:nvSpPr>
      <dsp:spPr>
        <a:xfrm>
          <a:off x="2251637" y="0"/>
          <a:ext cx="2217330" cy="2217555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322DA1-CD7F-4FCC-B95E-C3535A41AB14}">
      <dsp:nvSpPr>
        <dsp:cNvPr id="0" name=""/>
        <dsp:cNvSpPr/>
      </dsp:nvSpPr>
      <dsp:spPr>
        <a:xfrm>
          <a:off x="2741188" y="802695"/>
          <a:ext cx="1237395" cy="6186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 err="1"/>
            <a:t>Ansprech-partner:in</a:t>
          </a:r>
          <a:endParaRPr lang="de-DE" sz="1600" kern="1200" dirty="0"/>
        </a:p>
      </dsp:txBody>
      <dsp:txXfrm>
        <a:off x="2741188" y="802695"/>
        <a:ext cx="1237395" cy="618633"/>
      </dsp:txXfrm>
    </dsp:sp>
    <dsp:sp modelId="{A7E8A44B-D5DF-4876-A749-A437EFA68F4B}">
      <dsp:nvSpPr>
        <dsp:cNvPr id="0" name=""/>
        <dsp:cNvSpPr/>
      </dsp:nvSpPr>
      <dsp:spPr>
        <a:xfrm>
          <a:off x="1635642" y="1274315"/>
          <a:ext cx="2217330" cy="2217555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5">
            <a:hueOff val="-4650006"/>
            <a:satOff val="-1316"/>
            <a:lumOff val="-28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3768A9-2761-4C55-8938-8C86B5C9A015}">
      <dsp:nvSpPr>
        <dsp:cNvPr id="0" name=""/>
        <dsp:cNvSpPr/>
      </dsp:nvSpPr>
      <dsp:spPr>
        <a:xfrm>
          <a:off x="2122698" y="2079362"/>
          <a:ext cx="1237395" cy="6186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 err="1"/>
            <a:t>Berater:in</a:t>
          </a:r>
          <a:endParaRPr lang="de-DE" sz="1600" kern="1200" dirty="0"/>
        </a:p>
      </dsp:txBody>
      <dsp:txXfrm>
        <a:off x="2122698" y="2079362"/>
        <a:ext cx="1237395" cy="618633"/>
      </dsp:txXfrm>
    </dsp:sp>
    <dsp:sp modelId="{B4817E8E-3763-4BDC-BD3F-6C266597D0AD}">
      <dsp:nvSpPr>
        <dsp:cNvPr id="0" name=""/>
        <dsp:cNvSpPr/>
      </dsp:nvSpPr>
      <dsp:spPr>
        <a:xfrm>
          <a:off x="2251637" y="2553335"/>
          <a:ext cx="2217330" cy="2217555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solidFill>
          <a:schemeClr val="accent5">
            <a:hueOff val="-9300013"/>
            <a:satOff val="-2632"/>
            <a:lumOff val="-57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7B2CE0-10B0-42D1-8DDD-69DD954DEA4A}">
      <dsp:nvSpPr>
        <dsp:cNvPr id="0" name=""/>
        <dsp:cNvSpPr/>
      </dsp:nvSpPr>
      <dsp:spPr>
        <a:xfrm>
          <a:off x="2741188" y="3356030"/>
          <a:ext cx="1237395" cy="6186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Vertrauens-person</a:t>
          </a:r>
        </a:p>
      </dsp:txBody>
      <dsp:txXfrm>
        <a:off x="2741188" y="3356030"/>
        <a:ext cx="1237395" cy="618633"/>
      </dsp:txXfrm>
    </dsp:sp>
    <dsp:sp modelId="{40332E35-84E7-4D29-A200-A2320DDBB3AB}">
      <dsp:nvSpPr>
        <dsp:cNvPr id="0" name=""/>
        <dsp:cNvSpPr/>
      </dsp:nvSpPr>
      <dsp:spPr>
        <a:xfrm>
          <a:off x="1793696" y="3974664"/>
          <a:ext cx="1904965" cy="1905886"/>
        </a:xfrm>
        <a:prstGeom prst="blockArc">
          <a:avLst>
            <a:gd name="adj1" fmla="val 0"/>
            <a:gd name="adj2" fmla="val 18900000"/>
            <a:gd name="adj3" fmla="val 12740"/>
          </a:avLst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74216-14D1-453C-AB16-D58C6FD17948}">
      <dsp:nvSpPr>
        <dsp:cNvPr id="0" name=""/>
        <dsp:cNvSpPr/>
      </dsp:nvSpPr>
      <dsp:spPr>
        <a:xfrm>
          <a:off x="2122698" y="4632698"/>
          <a:ext cx="1237395" cy="6186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 err="1"/>
            <a:t>Praxis-anleiter:in</a:t>
          </a:r>
          <a:endParaRPr lang="de-DE" sz="1400" b="1" kern="1200" dirty="0"/>
        </a:p>
      </dsp:txBody>
      <dsp:txXfrm>
        <a:off x="2122698" y="4632698"/>
        <a:ext cx="1237395" cy="618633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653187-C3F3-4386-88F7-9E868007E750}">
      <dsp:nvSpPr>
        <dsp:cNvPr id="0" name=""/>
        <dsp:cNvSpPr/>
      </dsp:nvSpPr>
      <dsp:spPr>
        <a:xfrm>
          <a:off x="576488" y="318646"/>
          <a:ext cx="1205891" cy="1205891"/>
        </a:xfrm>
        <a:prstGeom prst="pieWedg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tx1"/>
              </a:solidFill>
            </a:rPr>
            <a:t>Fach-kompetenz</a:t>
          </a:r>
        </a:p>
      </dsp:txBody>
      <dsp:txXfrm>
        <a:off x="929685" y="671843"/>
        <a:ext cx="852694" cy="852694"/>
      </dsp:txXfrm>
    </dsp:sp>
    <dsp:sp modelId="{BD59D96E-82A6-4612-BA89-3E5323DE8885}">
      <dsp:nvSpPr>
        <dsp:cNvPr id="0" name=""/>
        <dsp:cNvSpPr/>
      </dsp:nvSpPr>
      <dsp:spPr>
        <a:xfrm rot="5400000">
          <a:off x="1838079" y="318646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Methoden-kompetenz</a:t>
          </a:r>
        </a:p>
      </dsp:txBody>
      <dsp:txXfrm rot="-5400000">
        <a:off x="1838079" y="671843"/>
        <a:ext cx="852694" cy="852694"/>
      </dsp:txXfrm>
    </dsp:sp>
    <dsp:sp modelId="{F524F590-1BEB-40A7-B022-D74430C54FD7}">
      <dsp:nvSpPr>
        <dsp:cNvPr id="0" name=""/>
        <dsp:cNvSpPr/>
      </dsp:nvSpPr>
      <dsp:spPr>
        <a:xfrm rot="10800000">
          <a:off x="1838079" y="1580237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Sozial-kompetenz</a:t>
          </a:r>
        </a:p>
      </dsp:txBody>
      <dsp:txXfrm rot="10800000">
        <a:off x="1838079" y="1580237"/>
        <a:ext cx="852694" cy="852694"/>
      </dsp:txXfrm>
    </dsp:sp>
    <dsp:sp modelId="{20659C38-E743-4B14-9908-4F8DDC1CA57D}">
      <dsp:nvSpPr>
        <dsp:cNvPr id="0" name=""/>
        <dsp:cNvSpPr/>
      </dsp:nvSpPr>
      <dsp:spPr>
        <a:xfrm rot="16200000">
          <a:off x="576488" y="1580237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Personal-kompetenz</a:t>
          </a:r>
        </a:p>
      </dsp:txBody>
      <dsp:txXfrm rot="5400000">
        <a:off x="929685" y="1580237"/>
        <a:ext cx="852694" cy="852694"/>
      </dsp:txXfrm>
    </dsp:sp>
    <dsp:sp modelId="{8A30DC33-EEC1-4E2D-8153-37CA203BDF71}">
      <dsp:nvSpPr>
        <dsp:cNvPr id="0" name=""/>
        <dsp:cNvSpPr/>
      </dsp:nvSpPr>
      <dsp:spPr>
        <a:xfrm>
          <a:off x="1602053" y="1301740"/>
          <a:ext cx="416352" cy="362046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F58E0E-7F99-4F9A-993A-3AD72F2450B2}">
      <dsp:nvSpPr>
        <dsp:cNvPr id="0" name=""/>
        <dsp:cNvSpPr/>
      </dsp:nvSpPr>
      <dsp:spPr>
        <a:xfrm rot="10800000">
          <a:off x="1602053" y="1440988"/>
          <a:ext cx="416352" cy="362046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653187-C3F3-4386-88F7-9E868007E750}">
      <dsp:nvSpPr>
        <dsp:cNvPr id="0" name=""/>
        <dsp:cNvSpPr/>
      </dsp:nvSpPr>
      <dsp:spPr>
        <a:xfrm>
          <a:off x="576488" y="318646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Fach-kompetenz</a:t>
          </a:r>
        </a:p>
      </dsp:txBody>
      <dsp:txXfrm>
        <a:off x="929685" y="671843"/>
        <a:ext cx="852694" cy="852694"/>
      </dsp:txXfrm>
    </dsp:sp>
    <dsp:sp modelId="{BD59D96E-82A6-4612-BA89-3E5323DE8885}">
      <dsp:nvSpPr>
        <dsp:cNvPr id="0" name=""/>
        <dsp:cNvSpPr/>
      </dsp:nvSpPr>
      <dsp:spPr>
        <a:xfrm rot="5400000">
          <a:off x="1838079" y="318646"/>
          <a:ext cx="1205891" cy="1205891"/>
        </a:xfrm>
        <a:prstGeom prst="pieWedge">
          <a:avLst/>
        </a:prstGeom>
        <a:solidFill>
          <a:schemeClr val="accent5">
            <a:hueOff val="-4650006"/>
            <a:satOff val="-1316"/>
            <a:lumOff val="-28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tx1"/>
              </a:solidFill>
            </a:rPr>
            <a:t>Methoden-kompetenz</a:t>
          </a:r>
        </a:p>
      </dsp:txBody>
      <dsp:txXfrm rot="-5400000">
        <a:off x="1838079" y="671843"/>
        <a:ext cx="852694" cy="852694"/>
      </dsp:txXfrm>
    </dsp:sp>
    <dsp:sp modelId="{F524F590-1BEB-40A7-B022-D74430C54FD7}">
      <dsp:nvSpPr>
        <dsp:cNvPr id="0" name=""/>
        <dsp:cNvSpPr/>
      </dsp:nvSpPr>
      <dsp:spPr>
        <a:xfrm rot="10800000">
          <a:off x="1838079" y="1580237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Sozial-kompetenz</a:t>
          </a:r>
        </a:p>
      </dsp:txBody>
      <dsp:txXfrm rot="10800000">
        <a:off x="1838079" y="1580237"/>
        <a:ext cx="852694" cy="852694"/>
      </dsp:txXfrm>
    </dsp:sp>
    <dsp:sp modelId="{20659C38-E743-4B14-9908-4F8DDC1CA57D}">
      <dsp:nvSpPr>
        <dsp:cNvPr id="0" name=""/>
        <dsp:cNvSpPr/>
      </dsp:nvSpPr>
      <dsp:spPr>
        <a:xfrm rot="16200000">
          <a:off x="576488" y="1580237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Personal-kompetenz</a:t>
          </a:r>
        </a:p>
      </dsp:txBody>
      <dsp:txXfrm rot="5400000">
        <a:off x="929685" y="1580237"/>
        <a:ext cx="852694" cy="852694"/>
      </dsp:txXfrm>
    </dsp:sp>
    <dsp:sp modelId="{8A30DC33-EEC1-4E2D-8153-37CA203BDF71}">
      <dsp:nvSpPr>
        <dsp:cNvPr id="0" name=""/>
        <dsp:cNvSpPr/>
      </dsp:nvSpPr>
      <dsp:spPr>
        <a:xfrm>
          <a:off x="1602053" y="1301740"/>
          <a:ext cx="416352" cy="362046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F58E0E-7F99-4F9A-993A-3AD72F2450B2}">
      <dsp:nvSpPr>
        <dsp:cNvPr id="0" name=""/>
        <dsp:cNvSpPr/>
      </dsp:nvSpPr>
      <dsp:spPr>
        <a:xfrm rot="10800000">
          <a:off x="1602053" y="1440988"/>
          <a:ext cx="416352" cy="362046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653187-C3F3-4386-88F7-9E868007E750}">
      <dsp:nvSpPr>
        <dsp:cNvPr id="0" name=""/>
        <dsp:cNvSpPr/>
      </dsp:nvSpPr>
      <dsp:spPr>
        <a:xfrm>
          <a:off x="576488" y="318646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Fach-kompetenz</a:t>
          </a:r>
        </a:p>
      </dsp:txBody>
      <dsp:txXfrm>
        <a:off x="929685" y="671843"/>
        <a:ext cx="852694" cy="852694"/>
      </dsp:txXfrm>
    </dsp:sp>
    <dsp:sp modelId="{BD59D96E-82A6-4612-BA89-3E5323DE8885}">
      <dsp:nvSpPr>
        <dsp:cNvPr id="0" name=""/>
        <dsp:cNvSpPr/>
      </dsp:nvSpPr>
      <dsp:spPr>
        <a:xfrm rot="5400000">
          <a:off x="1838079" y="318646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Methoden-kompetenz</a:t>
          </a:r>
        </a:p>
      </dsp:txBody>
      <dsp:txXfrm rot="-5400000">
        <a:off x="1838079" y="671843"/>
        <a:ext cx="852694" cy="852694"/>
      </dsp:txXfrm>
    </dsp:sp>
    <dsp:sp modelId="{F524F590-1BEB-40A7-B022-D74430C54FD7}">
      <dsp:nvSpPr>
        <dsp:cNvPr id="0" name=""/>
        <dsp:cNvSpPr/>
      </dsp:nvSpPr>
      <dsp:spPr>
        <a:xfrm rot="10800000">
          <a:off x="1838079" y="1580237"/>
          <a:ext cx="1205891" cy="1205891"/>
        </a:xfrm>
        <a:prstGeom prst="pieWedge">
          <a:avLst/>
        </a:prstGeom>
        <a:solidFill>
          <a:schemeClr val="accent5">
            <a:hueOff val="-9300013"/>
            <a:satOff val="-2632"/>
            <a:lumOff val="-57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tx1"/>
              </a:solidFill>
            </a:rPr>
            <a:t>Sozial-kompetenz</a:t>
          </a:r>
        </a:p>
      </dsp:txBody>
      <dsp:txXfrm rot="10800000">
        <a:off x="1838079" y="1580237"/>
        <a:ext cx="852694" cy="852694"/>
      </dsp:txXfrm>
    </dsp:sp>
    <dsp:sp modelId="{20659C38-E743-4B14-9908-4F8DDC1CA57D}">
      <dsp:nvSpPr>
        <dsp:cNvPr id="0" name=""/>
        <dsp:cNvSpPr/>
      </dsp:nvSpPr>
      <dsp:spPr>
        <a:xfrm rot="16200000">
          <a:off x="576488" y="1580237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Personal-kompetenz</a:t>
          </a:r>
        </a:p>
      </dsp:txBody>
      <dsp:txXfrm rot="5400000">
        <a:off x="929685" y="1580237"/>
        <a:ext cx="852694" cy="852694"/>
      </dsp:txXfrm>
    </dsp:sp>
    <dsp:sp modelId="{8A30DC33-EEC1-4E2D-8153-37CA203BDF71}">
      <dsp:nvSpPr>
        <dsp:cNvPr id="0" name=""/>
        <dsp:cNvSpPr/>
      </dsp:nvSpPr>
      <dsp:spPr>
        <a:xfrm>
          <a:off x="1602053" y="1301740"/>
          <a:ext cx="416352" cy="362046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F58E0E-7F99-4F9A-993A-3AD72F2450B2}">
      <dsp:nvSpPr>
        <dsp:cNvPr id="0" name=""/>
        <dsp:cNvSpPr/>
      </dsp:nvSpPr>
      <dsp:spPr>
        <a:xfrm rot="10800000">
          <a:off x="1602053" y="1440988"/>
          <a:ext cx="416352" cy="362046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653187-C3F3-4386-88F7-9E868007E750}">
      <dsp:nvSpPr>
        <dsp:cNvPr id="0" name=""/>
        <dsp:cNvSpPr/>
      </dsp:nvSpPr>
      <dsp:spPr>
        <a:xfrm>
          <a:off x="576488" y="318646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Fach-kompetenz</a:t>
          </a:r>
        </a:p>
      </dsp:txBody>
      <dsp:txXfrm>
        <a:off x="929685" y="671843"/>
        <a:ext cx="852694" cy="852694"/>
      </dsp:txXfrm>
    </dsp:sp>
    <dsp:sp modelId="{BD59D96E-82A6-4612-BA89-3E5323DE8885}">
      <dsp:nvSpPr>
        <dsp:cNvPr id="0" name=""/>
        <dsp:cNvSpPr/>
      </dsp:nvSpPr>
      <dsp:spPr>
        <a:xfrm rot="5400000">
          <a:off x="1838079" y="318646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Methoden-kompetenz</a:t>
          </a:r>
        </a:p>
      </dsp:txBody>
      <dsp:txXfrm rot="-5400000">
        <a:off x="1838079" y="671843"/>
        <a:ext cx="852694" cy="852694"/>
      </dsp:txXfrm>
    </dsp:sp>
    <dsp:sp modelId="{F524F590-1BEB-40A7-B022-D74430C54FD7}">
      <dsp:nvSpPr>
        <dsp:cNvPr id="0" name=""/>
        <dsp:cNvSpPr/>
      </dsp:nvSpPr>
      <dsp:spPr>
        <a:xfrm rot="10800000">
          <a:off x="1838079" y="1580237"/>
          <a:ext cx="1205891" cy="1205891"/>
        </a:xfrm>
        <a:prstGeom prst="pieWedg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bg1"/>
              </a:solidFill>
            </a:rPr>
            <a:t>Sozial-kompetenz</a:t>
          </a:r>
        </a:p>
      </dsp:txBody>
      <dsp:txXfrm rot="10800000">
        <a:off x="1838079" y="1580237"/>
        <a:ext cx="852694" cy="852694"/>
      </dsp:txXfrm>
    </dsp:sp>
    <dsp:sp modelId="{20659C38-E743-4B14-9908-4F8DDC1CA57D}">
      <dsp:nvSpPr>
        <dsp:cNvPr id="0" name=""/>
        <dsp:cNvSpPr/>
      </dsp:nvSpPr>
      <dsp:spPr>
        <a:xfrm rot="16200000">
          <a:off x="576488" y="1580237"/>
          <a:ext cx="1205891" cy="1205891"/>
        </a:xfrm>
        <a:prstGeom prst="pieWedge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>
              <a:solidFill>
                <a:schemeClr val="tx1"/>
              </a:solidFill>
            </a:rPr>
            <a:t>Personal-kompetenz</a:t>
          </a:r>
        </a:p>
      </dsp:txBody>
      <dsp:txXfrm rot="5400000">
        <a:off x="929685" y="1580237"/>
        <a:ext cx="852694" cy="852694"/>
      </dsp:txXfrm>
    </dsp:sp>
    <dsp:sp modelId="{8A30DC33-EEC1-4E2D-8153-37CA203BDF71}">
      <dsp:nvSpPr>
        <dsp:cNvPr id="0" name=""/>
        <dsp:cNvSpPr/>
      </dsp:nvSpPr>
      <dsp:spPr>
        <a:xfrm>
          <a:off x="1602053" y="1301740"/>
          <a:ext cx="416352" cy="362046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F58E0E-7F99-4F9A-993A-3AD72F2450B2}">
      <dsp:nvSpPr>
        <dsp:cNvPr id="0" name=""/>
        <dsp:cNvSpPr/>
      </dsp:nvSpPr>
      <dsp:spPr>
        <a:xfrm rot="10800000">
          <a:off x="1602053" y="1440988"/>
          <a:ext cx="416352" cy="362046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653187-C3F3-4386-88F7-9E868007E750}">
      <dsp:nvSpPr>
        <dsp:cNvPr id="0" name=""/>
        <dsp:cNvSpPr/>
      </dsp:nvSpPr>
      <dsp:spPr>
        <a:xfrm>
          <a:off x="874508" y="179979"/>
          <a:ext cx="1367209" cy="1367209"/>
        </a:xfrm>
        <a:prstGeom prst="pieWedge">
          <a:avLst/>
        </a:prstGeom>
        <a:solidFill>
          <a:srgbClr val="ECEBF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solidFill>
                <a:schemeClr val="tx1"/>
              </a:solidFill>
            </a:rPr>
            <a:t>Fach-kompetenz</a:t>
          </a:r>
        </a:p>
      </dsp:txBody>
      <dsp:txXfrm>
        <a:off x="1274954" y="580425"/>
        <a:ext cx="966763" cy="966763"/>
      </dsp:txXfrm>
    </dsp:sp>
    <dsp:sp modelId="{BD59D96E-82A6-4612-BA89-3E5323DE8885}">
      <dsp:nvSpPr>
        <dsp:cNvPr id="0" name=""/>
        <dsp:cNvSpPr/>
      </dsp:nvSpPr>
      <dsp:spPr>
        <a:xfrm rot="5400000">
          <a:off x="2304867" y="179979"/>
          <a:ext cx="1367209" cy="1367209"/>
        </a:xfrm>
        <a:prstGeom prst="pieWedge">
          <a:avLst/>
        </a:prstGeom>
        <a:solidFill>
          <a:srgbClr val="E2EDE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solidFill>
                <a:schemeClr val="tx1"/>
              </a:solidFill>
            </a:rPr>
            <a:t>Methoden-kompetenz</a:t>
          </a:r>
        </a:p>
      </dsp:txBody>
      <dsp:txXfrm rot="-5400000">
        <a:off x="2304867" y="580425"/>
        <a:ext cx="966763" cy="966763"/>
      </dsp:txXfrm>
    </dsp:sp>
    <dsp:sp modelId="{F524F590-1BEB-40A7-B022-D74430C54FD7}">
      <dsp:nvSpPr>
        <dsp:cNvPr id="0" name=""/>
        <dsp:cNvSpPr/>
      </dsp:nvSpPr>
      <dsp:spPr>
        <a:xfrm rot="10800000">
          <a:off x="2304867" y="1610338"/>
          <a:ext cx="1367209" cy="1367209"/>
        </a:xfrm>
        <a:prstGeom prst="pieWedge">
          <a:avLst/>
        </a:prstGeom>
        <a:solidFill>
          <a:srgbClr val="E0E7D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solidFill>
                <a:schemeClr val="tx1"/>
              </a:solidFill>
            </a:rPr>
            <a:t>Sozial-kompetenz</a:t>
          </a:r>
        </a:p>
      </dsp:txBody>
      <dsp:txXfrm rot="10800000">
        <a:off x="2304867" y="1610338"/>
        <a:ext cx="966763" cy="966763"/>
      </dsp:txXfrm>
    </dsp:sp>
    <dsp:sp modelId="{20659C38-E743-4B14-9908-4F8DDC1CA57D}">
      <dsp:nvSpPr>
        <dsp:cNvPr id="0" name=""/>
        <dsp:cNvSpPr/>
      </dsp:nvSpPr>
      <dsp:spPr>
        <a:xfrm rot="16200000">
          <a:off x="874508" y="1610338"/>
          <a:ext cx="1367209" cy="1367209"/>
        </a:xfrm>
        <a:prstGeom prst="pieWedge">
          <a:avLst/>
        </a:prstGeom>
        <a:solidFill>
          <a:srgbClr val="E1D5D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solidFill>
                <a:schemeClr val="tx1"/>
              </a:solidFill>
            </a:rPr>
            <a:t>Personal-kompetenz</a:t>
          </a:r>
        </a:p>
      </dsp:txBody>
      <dsp:txXfrm rot="5400000">
        <a:off x="1274954" y="1610338"/>
        <a:ext cx="966763" cy="966763"/>
      </dsp:txXfrm>
    </dsp:sp>
    <dsp:sp modelId="{8A30DC33-EEC1-4E2D-8153-37CA203BDF71}">
      <dsp:nvSpPr>
        <dsp:cNvPr id="0" name=""/>
        <dsp:cNvSpPr/>
      </dsp:nvSpPr>
      <dsp:spPr>
        <a:xfrm>
          <a:off x="2037267" y="1294586"/>
          <a:ext cx="472050" cy="410478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F58E0E-7F99-4F9A-993A-3AD72F2450B2}">
      <dsp:nvSpPr>
        <dsp:cNvPr id="0" name=""/>
        <dsp:cNvSpPr/>
      </dsp:nvSpPr>
      <dsp:spPr>
        <a:xfrm rot="10800000">
          <a:off x="2037267" y="1452462"/>
          <a:ext cx="472050" cy="410478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F781B7-93D8-4014-B194-56CA5549CD57}">
      <dsp:nvSpPr>
        <dsp:cNvPr id="0" name=""/>
        <dsp:cNvSpPr/>
      </dsp:nvSpPr>
      <dsp:spPr>
        <a:xfrm rot="5400000">
          <a:off x="812627" y="1856834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DC79E5-52CD-4A3C-B843-24EDD52DA279}">
      <dsp:nvSpPr>
        <dsp:cNvPr id="0" name=""/>
        <dsp:cNvSpPr/>
      </dsp:nvSpPr>
      <dsp:spPr>
        <a:xfrm>
          <a:off x="604554" y="2476562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Anfänger</a:t>
          </a:r>
        </a:p>
      </dsp:txBody>
      <dsp:txXfrm>
        <a:off x="604554" y="2476562"/>
        <a:ext cx="1872565" cy="1641413"/>
      </dsp:txXfrm>
    </dsp:sp>
    <dsp:sp modelId="{8101D0EB-6349-45B0-9D46-A0533426FF7F}">
      <dsp:nvSpPr>
        <dsp:cNvPr id="0" name=""/>
        <dsp:cNvSpPr/>
      </dsp:nvSpPr>
      <dsp:spPr>
        <a:xfrm>
          <a:off x="2123805" y="1704132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hueOff val="-1743752"/>
            <a:satOff val="-494"/>
            <a:lumOff val="-1078"/>
            <a:alphaOff val="0"/>
          </a:schemeClr>
        </a:solidFill>
        <a:ln w="12700" cap="flat" cmpd="sng" algn="ctr">
          <a:solidFill>
            <a:schemeClr val="accent5">
              <a:hueOff val="-1743752"/>
              <a:satOff val="-494"/>
              <a:lumOff val="-107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AF5CF2-B4C9-4B69-A069-6C28A407F2AA}">
      <dsp:nvSpPr>
        <dsp:cNvPr id="0" name=""/>
        <dsp:cNvSpPr/>
      </dsp:nvSpPr>
      <dsp:spPr>
        <a:xfrm rot="5400000">
          <a:off x="3105013" y="1289581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hueOff val="-3487505"/>
            <a:satOff val="-987"/>
            <a:lumOff val="-2157"/>
            <a:alphaOff val="0"/>
          </a:schemeClr>
        </a:solidFill>
        <a:ln w="12700" cap="flat" cmpd="sng" algn="ctr">
          <a:solidFill>
            <a:schemeClr val="accent5">
              <a:hueOff val="-3487505"/>
              <a:satOff val="-987"/>
              <a:lumOff val="-215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0DDB13-D7EC-4357-A30A-01737DEDD158}">
      <dsp:nvSpPr>
        <dsp:cNvPr id="0" name=""/>
        <dsp:cNvSpPr/>
      </dsp:nvSpPr>
      <dsp:spPr>
        <a:xfrm>
          <a:off x="2896939" y="1909309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Fortgeschrittener Anfänger</a:t>
          </a:r>
        </a:p>
      </dsp:txBody>
      <dsp:txXfrm>
        <a:off x="2896939" y="1909309"/>
        <a:ext cx="1872565" cy="1641413"/>
      </dsp:txXfrm>
    </dsp:sp>
    <dsp:sp modelId="{55E77BF2-B3C3-45C8-81E7-58DA03A285F5}">
      <dsp:nvSpPr>
        <dsp:cNvPr id="0" name=""/>
        <dsp:cNvSpPr/>
      </dsp:nvSpPr>
      <dsp:spPr>
        <a:xfrm>
          <a:off x="4416190" y="1136879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hueOff val="-5231257"/>
            <a:satOff val="-1481"/>
            <a:lumOff val="-3235"/>
            <a:alphaOff val="0"/>
          </a:schemeClr>
        </a:solidFill>
        <a:ln w="12700" cap="flat" cmpd="sng" algn="ctr">
          <a:solidFill>
            <a:schemeClr val="accent5">
              <a:hueOff val="-5231257"/>
              <a:satOff val="-1481"/>
              <a:lumOff val="-323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EDCBDE-0E9C-44A2-98E7-EBA9C531E515}">
      <dsp:nvSpPr>
        <dsp:cNvPr id="0" name=""/>
        <dsp:cNvSpPr/>
      </dsp:nvSpPr>
      <dsp:spPr>
        <a:xfrm rot="5400000">
          <a:off x="5397398" y="722328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accent5">
              <a:hueOff val="-6975009"/>
              <a:satOff val="-1974"/>
              <a:lumOff val="-431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125DF7-4948-4BAB-BF5A-B5E2917FEE2B}">
      <dsp:nvSpPr>
        <dsp:cNvPr id="0" name=""/>
        <dsp:cNvSpPr/>
      </dsp:nvSpPr>
      <dsp:spPr>
        <a:xfrm>
          <a:off x="5189325" y="1342056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Kompetent Pflegender</a:t>
          </a:r>
        </a:p>
      </dsp:txBody>
      <dsp:txXfrm>
        <a:off x="5189325" y="1342056"/>
        <a:ext cx="1872565" cy="1641413"/>
      </dsp:txXfrm>
    </dsp:sp>
    <dsp:sp modelId="{82FA7DD1-E555-4DDD-945D-17F95F27B18F}">
      <dsp:nvSpPr>
        <dsp:cNvPr id="0" name=""/>
        <dsp:cNvSpPr/>
      </dsp:nvSpPr>
      <dsp:spPr>
        <a:xfrm>
          <a:off x="6708576" y="569626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hueOff val="-8718761"/>
            <a:satOff val="-2468"/>
            <a:lumOff val="-5392"/>
            <a:alphaOff val="0"/>
          </a:schemeClr>
        </a:solidFill>
        <a:ln w="12700" cap="flat" cmpd="sng" algn="ctr">
          <a:solidFill>
            <a:schemeClr val="accent5">
              <a:hueOff val="-8718761"/>
              <a:satOff val="-2468"/>
              <a:lumOff val="-539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56856F-043E-4B70-9C15-EFEF42FF36E9}">
      <dsp:nvSpPr>
        <dsp:cNvPr id="0" name=""/>
        <dsp:cNvSpPr/>
      </dsp:nvSpPr>
      <dsp:spPr>
        <a:xfrm rot="5400000">
          <a:off x="7689783" y="155075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hueOff val="-10462514"/>
            <a:satOff val="-2961"/>
            <a:lumOff val="-6471"/>
            <a:alphaOff val="0"/>
          </a:schemeClr>
        </a:solidFill>
        <a:ln w="12700" cap="flat" cmpd="sng" algn="ctr">
          <a:solidFill>
            <a:schemeClr val="accent5">
              <a:hueOff val="-10462514"/>
              <a:satOff val="-2961"/>
              <a:lumOff val="-647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B0349A-9669-4E86-8D25-A95262A5E6E7}">
      <dsp:nvSpPr>
        <dsp:cNvPr id="0" name=""/>
        <dsp:cNvSpPr/>
      </dsp:nvSpPr>
      <dsp:spPr>
        <a:xfrm>
          <a:off x="7481710" y="774803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Erfahrener Pflegender</a:t>
          </a:r>
        </a:p>
      </dsp:txBody>
      <dsp:txXfrm>
        <a:off x="7481710" y="774803"/>
        <a:ext cx="1872565" cy="1641413"/>
      </dsp:txXfrm>
    </dsp:sp>
    <dsp:sp modelId="{E78A156A-50C2-4C39-B074-5937A07F0C50}">
      <dsp:nvSpPr>
        <dsp:cNvPr id="0" name=""/>
        <dsp:cNvSpPr/>
      </dsp:nvSpPr>
      <dsp:spPr>
        <a:xfrm>
          <a:off x="9000961" y="2373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hueOff val="-12206266"/>
            <a:satOff val="-3455"/>
            <a:lumOff val="-7549"/>
            <a:alphaOff val="0"/>
          </a:schemeClr>
        </a:solidFill>
        <a:ln w="12700" cap="flat" cmpd="sng" algn="ctr">
          <a:solidFill>
            <a:schemeClr val="accent5">
              <a:hueOff val="-12206266"/>
              <a:satOff val="-3455"/>
              <a:lumOff val="-75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61F493-234D-40CB-A717-43E47652CD4F}">
      <dsp:nvSpPr>
        <dsp:cNvPr id="0" name=""/>
        <dsp:cNvSpPr/>
      </dsp:nvSpPr>
      <dsp:spPr>
        <a:xfrm rot="5400000">
          <a:off x="9982169" y="-412177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accent5">
              <a:hueOff val="-13950018"/>
              <a:satOff val="-3948"/>
              <a:lumOff val="-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A49ED2-7C66-42C2-8457-00E571E78628}">
      <dsp:nvSpPr>
        <dsp:cNvPr id="0" name=""/>
        <dsp:cNvSpPr/>
      </dsp:nvSpPr>
      <dsp:spPr>
        <a:xfrm>
          <a:off x="9774096" y="207550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Pflegeexperte</a:t>
          </a:r>
        </a:p>
      </dsp:txBody>
      <dsp:txXfrm>
        <a:off x="9774096" y="207550"/>
        <a:ext cx="1872565" cy="1641413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F781B7-93D8-4014-B194-56CA5549CD57}">
      <dsp:nvSpPr>
        <dsp:cNvPr id="0" name=""/>
        <dsp:cNvSpPr/>
      </dsp:nvSpPr>
      <dsp:spPr>
        <a:xfrm rot="5400000">
          <a:off x="812627" y="1856834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DC79E5-52CD-4A3C-B843-24EDD52DA279}">
      <dsp:nvSpPr>
        <dsp:cNvPr id="0" name=""/>
        <dsp:cNvSpPr/>
      </dsp:nvSpPr>
      <dsp:spPr>
        <a:xfrm>
          <a:off x="604554" y="2476562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Anfänger</a:t>
          </a:r>
        </a:p>
      </dsp:txBody>
      <dsp:txXfrm>
        <a:off x="604554" y="2476562"/>
        <a:ext cx="1872565" cy="1641413"/>
      </dsp:txXfrm>
    </dsp:sp>
    <dsp:sp modelId="{8101D0EB-6349-45B0-9D46-A0533426FF7F}">
      <dsp:nvSpPr>
        <dsp:cNvPr id="0" name=""/>
        <dsp:cNvSpPr/>
      </dsp:nvSpPr>
      <dsp:spPr>
        <a:xfrm>
          <a:off x="2123805" y="1704132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hueOff val="-1743752"/>
            <a:satOff val="-494"/>
            <a:lumOff val="-1078"/>
            <a:alphaOff val="0"/>
          </a:schemeClr>
        </a:solidFill>
        <a:ln w="12700" cap="flat" cmpd="sng" algn="ctr">
          <a:solidFill>
            <a:schemeClr val="accent5">
              <a:hueOff val="-1743752"/>
              <a:satOff val="-494"/>
              <a:lumOff val="-107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AF5CF2-B4C9-4B69-A069-6C28A407F2AA}">
      <dsp:nvSpPr>
        <dsp:cNvPr id="0" name=""/>
        <dsp:cNvSpPr/>
      </dsp:nvSpPr>
      <dsp:spPr>
        <a:xfrm rot="5400000">
          <a:off x="3105013" y="1289581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hueOff val="-3487505"/>
            <a:satOff val="-987"/>
            <a:lumOff val="-2157"/>
            <a:alphaOff val="0"/>
          </a:schemeClr>
        </a:solidFill>
        <a:ln w="12700" cap="flat" cmpd="sng" algn="ctr">
          <a:solidFill>
            <a:schemeClr val="accent5">
              <a:hueOff val="-3487505"/>
              <a:satOff val="-987"/>
              <a:lumOff val="-215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0DDB13-D7EC-4357-A30A-01737DEDD158}">
      <dsp:nvSpPr>
        <dsp:cNvPr id="0" name=""/>
        <dsp:cNvSpPr/>
      </dsp:nvSpPr>
      <dsp:spPr>
        <a:xfrm>
          <a:off x="2896939" y="1909309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Fortgeschrittener Anfänger</a:t>
          </a:r>
        </a:p>
      </dsp:txBody>
      <dsp:txXfrm>
        <a:off x="2896939" y="1909309"/>
        <a:ext cx="1872565" cy="1641413"/>
      </dsp:txXfrm>
    </dsp:sp>
    <dsp:sp modelId="{55E77BF2-B3C3-45C8-81E7-58DA03A285F5}">
      <dsp:nvSpPr>
        <dsp:cNvPr id="0" name=""/>
        <dsp:cNvSpPr/>
      </dsp:nvSpPr>
      <dsp:spPr>
        <a:xfrm>
          <a:off x="4416190" y="1136879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hueOff val="-5231257"/>
            <a:satOff val="-1481"/>
            <a:lumOff val="-3235"/>
            <a:alphaOff val="0"/>
          </a:schemeClr>
        </a:solidFill>
        <a:ln w="12700" cap="flat" cmpd="sng" algn="ctr">
          <a:solidFill>
            <a:schemeClr val="accent5">
              <a:hueOff val="-5231257"/>
              <a:satOff val="-1481"/>
              <a:lumOff val="-323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EDCBDE-0E9C-44A2-98E7-EBA9C531E515}">
      <dsp:nvSpPr>
        <dsp:cNvPr id="0" name=""/>
        <dsp:cNvSpPr/>
      </dsp:nvSpPr>
      <dsp:spPr>
        <a:xfrm rot="5400000">
          <a:off x="5397398" y="722328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accent5">
              <a:hueOff val="-6975009"/>
              <a:satOff val="-1974"/>
              <a:lumOff val="-431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125DF7-4948-4BAB-BF5A-B5E2917FEE2B}">
      <dsp:nvSpPr>
        <dsp:cNvPr id="0" name=""/>
        <dsp:cNvSpPr/>
      </dsp:nvSpPr>
      <dsp:spPr>
        <a:xfrm>
          <a:off x="5189325" y="1342056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Kompetent Pflegender</a:t>
          </a:r>
        </a:p>
      </dsp:txBody>
      <dsp:txXfrm>
        <a:off x="5189325" y="1342056"/>
        <a:ext cx="1872565" cy="1641413"/>
      </dsp:txXfrm>
    </dsp:sp>
    <dsp:sp modelId="{82FA7DD1-E555-4DDD-945D-17F95F27B18F}">
      <dsp:nvSpPr>
        <dsp:cNvPr id="0" name=""/>
        <dsp:cNvSpPr/>
      </dsp:nvSpPr>
      <dsp:spPr>
        <a:xfrm>
          <a:off x="6708576" y="569626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hueOff val="-8718761"/>
            <a:satOff val="-2468"/>
            <a:lumOff val="-5392"/>
            <a:alphaOff val="0"/>
          </a:schemeClr>
        </a:solidFill>
        <a:ln w="12700" cap="flat" cmpd="sng" algn="ctr">
          <a:solidFill>
            <a:schemeClr val="accent5">
              <a:hueOff val="-8718761"/>
              <a:satOff val="-2468"/>
              <a:lumOff val="-539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56856F-043E-4B70-9C15-EFEF42FF36E9}">
      <dsp:nvSpPr>
        <dsp:cNvPr id="0" name=""/>
        <dsp:cNvSpPr/>
      </dsp:nvSpPr>
      <dsp:spPr>
        <a:xfrm rot="5400000">
          <a:off x="7689783" y="155075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hueOff val="-10462514"/>
            <a:satOff val="-2961"/>
            <a:lumOff val="-6471"/>
            <a:alphaOff val="0"/>
          </a:schemeClr>
        </a:solidFill>
        <a:ln w="12700" cap="flat" cmpd="sng" algn="ctr">
          <a:solidFill>
            <a:schemeClr val="accent5">
              <a:hueOff val="-10462514"/>
              <a:satOff val="-2961"/>
              <a:lumOff val="-647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B0349A-9669-4E86-8D25-A95262A5E6E7}">
      <dsp:nvSpPr>
        <dsp:cNvPr id="0" name=""/>
        <dsp:cNvSpPr/>
      </dsp:nvSpPr>
      <dsp:spPr>
        <a:xfrm>
          <a:off x="7481710" y="774803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Erfahrener Pflegender</a:t>
          </a:r>
        </a:p>
      </dsp:txBody>
      <dsp:txXfrm>
        <a:off x="7481710" y="774803"/>
        <a:ext cx="1872565" cy="1641413"/>
      </dsp:txXfrm>
    </dsp:sp>
    <dsp:sp modelId="{E78A156A-50C2-4C39-B074-5937A07F0C50}">
      <dsp:nvSpPr>
        <dsp:cNvPr id="0" name=""/>
        <dsp:cNvSpPr/>
      </dsp:nvSpPr>
      <dsp:spPr>
        <a:xfrm>
          <a:off x="9000961" y="2373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hueOff val="-12206266"/>
            <a:satOff val="-3455"/>
            <a:lumOff val="-7549"/>
            <a:alphaOff val="0"/>
          </a:schemeClr>
        </a:solidFill>
        <a:ln w="12700" cap="flat" cmpd="sng" algn="ctr">
          <a:solidFill>
            <a:schemeClr val="accent5">
              <a:hueOff val="-12206266"/>
              <a:satOff val="-3455"/>
              <a:lumOff val="-75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61F493-234D-40CB-A717-43E47652CD4F}">
      <dsp:nvSpPr>
        <dsp:cNvPr id="0" name=""/>
        <dsp:cNvSpPr/>
      </dsp:nvSpPr>
      <dsp:spPr>
        <a:xfrm rot="5400000">
          <a:off x="9982169" y="-412177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accent5">
              <a:hueOff val="-13950018"/>
              <a:satOff val="-3948"/>
              <a:lumOff val="-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A49ED2-7C66-42C2-8457-00E571E78628}">
      <dsp:nvSpPr>
        <dsp:cNvPr id="0" name=""/>
        <dsp:cNvSpPr/>
      </dsp:nvSpPr>
      <dsp:spPr>
        <a:xfrm>
          <a:off x="9774096" y="207550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Pflegeexperte</a:t>
          </a:r>
        </a:p>
      </dsp:txBody>
      <dsp:txXfrm>
        <a:off x="9774096" y="207550"/>
        <a:ext cx="1872565" cy="1641413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F781B7-93D8-4014-B194-56CA5549CD57}">
      <dsp:nvSpPr>
        <dsp:cNvPr id="0" name=""/>
        <dsp:cNvSpPr/>
      </dsp:nvSpPr>
      <dsp:spPr>
        <a:xfrm rot="5400000">
          <a:off x="812627" y="1856834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DC79E5-52CD-4A3C-B843-24EDD52DA279}">
      <dsp:nvSpPr>
        <dsp:cNvPr id="0" name=""/>
        <dsp:cNvSpPr/>
      </dsp:nvSpPr>
      <dsp:spPr>
        <a:xfrm>
          <a:off x="604554" y="2476562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>
              <a:solidFill>
                <a:schemeClr val="bg2"/>
              </a:solidFill>
            </a:rPr>
            <a:t>Anfänger</a:t>
          </a:r>
        </a:p>
      </dsp:txBody>
      <dsp:txXfrm>
        <a:off x="604554" y="2476562"/>
        <a:ext cx="1872565" cy="1641413"/>
      </dsp:txXfrm>
    </dsp:sp>
    <dsp:sp modelId="{8101D0EB-6349-45B0-9D46-A0533426FF7F}">
      <dsp:nvSpPr>
        <dsp:cNvPr id="0" name=""/>
        <dsp:cNvSpPr/>
      </dsp:nvSpPr>
      <dsp:spPr>
        <a:xfrm>
          <a:off x="2123805" y="1704132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alpha val="90000"/>
            <a:hueOff val="0"/>
            <a:satOff val="0"/>
            <a:lumOff val="0"/>
            <a:alphaOff val="-5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AF5CF2-B4C9-4B69-A069-6C28A407F2AA}">
      <dsp:nvSpPr>
        <dsp:cNvPr id="0" name=""/>
        <dsp:cNvSpPr/>
      </dsp:nvSpPr>
      <dsp:spPr>
        <a:xfrm rot="5400000">
          <a:off x="3105013" y="1289581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alpha val="90000"/>
            <a:hueOff val="0"/>
            <a:satOff val="0"/>
            <a:lumOff val="0"/>
            <a:alphaOff val="-10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1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0DDB13-D7EC-4357-A30A-01737DEDD158}">
      <dsp:nvSpPr>
        <dsp:cNvPr id="0" name=""/>
        <dsp:cNvSpPr/>
      </dsp:nvSpPr>
      <dsp:spPr>
        <a:xfrm>
          <a:off x="2896939" y="1909309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>
              <a:solidFill>
                <a:schemeClr val="bg2"/>
              </a:solidFill>
            </a:rPr>
            <a:t>Fortgeschrittener Anfänger</a:t>
          </a:r>
        </a:p>
      </dsp:txBody>
      <dsp:txXfrm>
        <a:off x="2896939" y="1909309"/>
        <a:ext cx="1872565" cy="1641413"/>
      </dsp:txXfrm>
    </dsp:sp>
    <dsp:sp modelId="{55E77BF2-B3C3-45C8-81E7-58DA03A285F5}">
      <dsp:nvSpPr>
        <dsp:cNvPr id="0" name=""/>
        <dsp:cNvSpPr/>
      </dsp:nvSpPr>
      <dsp:spPr>
        <a:xfrm>
          <a:off x="4416190" y="1136879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alpha val="90000"/>
            <a:hueOff val="0"/>
            <a:satOff val="0"/>
            <a:lumOff val="0"/>
            <a:alphaOff val="-15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1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EDCBDE-0E9C-44A2-98E7-EBA9C531E515}">
      <dsp:nvSpPr>
        <dsp:cNvPr id="0" name=""/>
        <dsp:cNvSpPr/>
      </dsp:nvSpPr>
      <dsp:spPr>
        <a:xfrm rot="5400000">
          <a:off x="5397398" y="722328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alpha val="90000"/>
            <a:hueOff val="0"/>
            <a:satOff val="0"/>
            <a:lumOff val="0"/>
            <a:alphaOff val="-20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2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125DF7-4948-4BAB-BF5A-B5E2917FEE2B}">
      <dsp:nvSpPr>
        <dsp:cNvPr id="0" name=""/>
        <dsp:cNvSpPr/>
      </dsp:nvSpPr>
      <dsp:spPr>
        <a:xfrm>
          <a:off x="5189325" y="1342056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>
              <a:solidFill>
                <a:schemeClr val="bg2"/>
              </a:solidFill>
            </a:rPr>
            <a:t>Kompetent Pflegender</a:t>
          </a:r>
        </a:p>
      </dsp:txBody>
      <dsp:txXfrm>
        <a:off x="5189325" y="1342056"/>
        <a:ext cx="1872565" cy="1641413"/>
      </dsp:txXfrm>
    </dsp:sp>
    <dsp:sp modelId="{82FA7DD1-E555-4DDD-945D-17F95F27B18F}">
      <dsp:nvSpPr>
        <dsp:cNvPr id="0" name=""/>
        <dsp:cNvSpPr/>
      </dsp:nvSpPr>
      <dsp:spPr>
        <a:xfrm>
          <a:off x="6708576" y="569626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alpha val="90000"/>
            <a:hueOff val="0"/>
            <a:satOff val="0"/>
            <a:lumOff val="0"/>
            <a:alphaOff val="-25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2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56856F-043E-4B70-9C15-EFEF42FF36E9}">
      <dsp:nvSpPr>
        <dsp:cNvPr id="0" name=""/>
        <dsp:cNvSpPr/>
      </dsp:nvSpPr>
      <dsp:spPr>
        <a:xfrm rot="5400000">
          <a:off x="7689783" y="155075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alpha val="90000"/>
            <a:hueOff val="0"/>
            <a:satOff val="0"/>
            <a:lumOff val="0"/>
            <a:alphaOff val="-30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3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B0349A-9669-4E86-8D25-A95262A5E6E7}">
      <dsp:nvSpPr>
        <dsp:cNvPr id="0" name=""/>
        <dsp:cNvSpPr/>
      </dsp:nvSpPr>
      <dsp:spPr>
        <a:xfrm>
          <a:off x="7481710" y="774803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>
              <a:solidFill>
                <a:schemeClr val="bg2"/>
              </a:solidFill>
            </a:rPr>
            <a:t>Erfahrener Pflegender</a:t>
          </a:r>
        </a:p>
      </dsp:txBody>
      <dsp:txXfrm>
        <a:off x="7481710" y="774803"/>
        <a:ext cx="1872565" cy="1641413"/>
      </dsp:txXfrm>
    </dsp:sp>
    <dsp:sp modelId="{E78A156A-50C2-4C39-B074-5937A07F0C50}">
      <dsp:nvSpPr>
        <dsp:cNvPr id="0" name=""/>
        <dsp:cNvSpPr/>
      </dsp:nvSpPr>
      <dsp:spPr>
        <a:xfrm>
          <a:off x="9000961" y="2373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alpha val="90000"/>
            <a:hueOff val="0"/>
            <a:satOff val="0"/>
            <a:lumOff val="0"/>
            <a:alphaOff val="-35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3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61F493-234D-40CB-A717-43E47652CD4F}">
      <dsp:nvSpPr>
        <dsp:cNvPr id="0" name=""/>
        <dsp:cNvSpPr/>
      </dsp:nvSpPr>
      <dsp:spPr>
        <a:xfrm rot="5400000">
          <a:off x="9982169" y="-412177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4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A49ED2-7C66-42C2-8457-00E571E78628}">
      <dsp:nvSpPr>
        <dsp:cNvPr id="0" name=""/>
        <dsp:cNvSpPr/>
      </dsp:nvSpPr>
      <dsp:spPr>
        <a:xfrm>
          <a:off x="9774096" y="207550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>
              <a:solidFill>
                <a:schemeClr val="bg2"/>
              </a:solidFill>
            </a:rPr>
            <a:t>Pflegeexperte</a:t>
          </a:r>
        </a:p>
      </dsp:txBody>
      <dsp:txXfrm>
        <a:off x="9774096" y="207550"/>
        <a:ext cx="1872565" cy="1641413"/>
      </dsp:txXfrm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F781B7-93D8-4014-B194-56CA5549CD57}">
      <dsp:nvSpPr>
        <dsp:cNvPr id="0" name=""/>
        <dsp:cNvSpPr/>
      </dsp:nvSpPr>
      <dsp:spPr>
        <a:xfrm rot="5400000">
          <a:off x="812627" y="1856834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DC79E5-52CD-4A3C-B843-24EDD52DA279}">
      <dsp:nvSpPr>
        <dsp:cNvPr id="0" name=""/>
        <dsp:cNvSpPr/>
      </dsp:nvSpPr>
      <dsp:spPr>
        <a:xfrm>
          <a:off x="604554" y="2476562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>
              <a:solidFill>
                <a:schemeClr val="bg2"/>
              </a:solidFill>
            </a:rPr>
            <a:t>Anfänger</a:t>
          </a:r>
        </a:p>
      </dsp:txBody>
      <dsp:txXfrm>
        <a:off x="604554" y="2476562"/>
        <a:ext cx="1872565" cy="1641413"/>
      </dsp:txXfrm>
    </dsp:sp>
    <dsp:sp modelId="{8101D0EB-6349-45B0-9D46-A0533426FF7F}">
      <dsp:nvSpPr>
        <dsp:cNvPr id="0" name=""/>
        <dsp:cNvSpPr/>
      </dsp:nvSpPr>
      <dsp:spPr>
        <a:xfrm>
          <a:off x="2123805" y="1704132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alpha val="90000"/>
            <a:hueOff val="0"/>
            <a:satOff val="0"/>
            <a:lumOff val="0"/>
            <a:alphaOff val="-5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AF5CF2-B4C9-4B69-A069-6C28A407F2AA}">
      <dsp:nvSpPr>
        <dsp:cNvPr id="0" name=""/>
        <dsp:cNvSpPr/>
      </dsp:nvSpPr>
      <dsp:spPr>
        <a:xfrm rot="5400000">
          <a:off x="3105013" y="1289581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alpha val="90000"/>
            <a:hueOff val="0"/>
            <a:satOff val="0"/>
            <a:lumOff val="0"/>
            <a:alphaOff val="-10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1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0DDB13-D7EC-4357-A30A-01737DEDD158}">
      <dsp:nvSpPr>
        <dsp:cNvPr id="0" name=""/>
        <dsp:cNvSpPr/>
      </dsp:nvSpPr>
      <dsp:spPr>
        <a:xfrm>
          <a:off x="2896939" y="1909309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>
              <a:solidFill>
                <a:schemeClr val="bg2"/>
              </a:solidFill>
            </a:rPr>
            <a:t>Fortgeschrittener Anfänger</a:t>
          </a:r>
        </a:p>
      </dsp:txBody>
      <dsp:txXfrm>
        <a:off x="2896939" y="1909309"/>
        <a:ext cx="1872565" cy="1641413"/>
      </dsp:txXfrm>
    </dsp:sp>
    <dsp:sp modelId="{55E77BF2-B3C3-45C8-81E7-58DA03A285F5}">
      <dsp:nvSpPr>
        <dsp:cNvPr id="0" name=""/>
        <dsp:cNvSpPr/>
      </dsp:nvSpPr>
      <dsp:spPr>
        <a:xfrm>
          <a:off x="4416190" y="1136879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alpha val="90000"/>
            <a:hueOff val="0"/>
            <a:satOff val="0"/>
            <a:lumOff val="0"/>
            <a:alphaOff val="-15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1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EDCBDE-0E9C-44A2-98E7-EBA9C531E515}">
      <dsp:nvSpPr>
        <dsp:cNvPr id="0" name=""/>
        <dsp:cNvSpPr/>
      </dsp:nvSpPr>
      <dsp:spPr>
        <a:xfrm rot="5400000">
          <a:off x="5397398" y="722328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alpha val="90000"/>
            <a:hueOff val="0"/>
            <a:satOff val="0"/>
            <a:lumOff val="0"/>
            <a:alphaOff val="-20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2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125DF7-4948-4BAB-BF5A-B5E2917FEE2B}">
      <dsp:nvSpPr>
        <dsp:cNvPr id="0" name=""/>
        <dsp:cNvSpPr/>
      </dsp:nvSpPr>
      <dsp:spPr>
        <a:xfrm>
          <a:off x="5189325" y="1342056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>
              <a:solidFill>
                <a:schemeClr val="bg2"/>
              </a:solidFill>
            </a:rPr>
            <a:t>Kompetent Pflegender</a:t>
          </a:r>
        </a:p>
      </dsp:txBody>
      <dsp:txXfrm>
        <a:off x="5189325" y="1342056"/>
        <a:ext cx="1872565" cy="1641413"/>
      </dsp:txXfrm>
    </dsp:sp>
    <dsp:sp modelId="{82FA7DD1-E555-4DDD-945D-17F95F27B18F}">
      <dsp:nvSpPr>
        <dsp:cNvPr id="0" name=""/>
        <dsp:cNvSpPr/>
      </dsp:nvSpPr>
      <dsp:spPr>
        <a:xfrm>
          <a:off x="6708576" y="569626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alpha val="90000"/>
            <a:hueOff val="0"/>
            <a:satOff val="0"/>
            <a:lumOff val="0"/>
            <a:alphaOff val="-25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2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56856F-043E-4B70-9C15-EFEF42FF36E9}">
      <dsp:nvSpPr>
        <dsp:cNvPr id="0" name=""/>
        <dsp:cNvSpPr/>
      </dsp:nvSpPr>
      <dsp:spPr>
        <a:xfrm rot="5400000">
          <a:off x="7689783" y="155075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alpha val="90000"/>
            <a:hueOff val="0"/>
            <a:satOff val="0"/>
            <a:lumOff val="0"/>
            <a:alphaOff val="-30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3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B0349A-9669-4E86-8D25-A95262A5E6E7}">
      <dsp:nvSpPr>
        <dsp:cNvPr id="0" name=""/>
        <dsp:cNvSpPr/>
      </dsp:nvSpPr>
      <dsp:spPr>
        <a:xfrm>
          <a:off x="7481710" y="774803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>
              <a:solidFill>
                <a:schemeClr val="bg2"/>
              </a:solidFill>
            </a:rPr>
            <a:t>Erfahrener Pflegender</a:t>
          </a:r>
        </a:p>
      </dsp:txBody>
      <dsp:txXfrm>
        <a:off x="7481710" y="774803"/>
        <a:ext cx="1872565" cy="1641413"/>
      </dsp:txXfrm>
    </dsp:sp>
    <dsp:sp modelId="{E78A156A-50C2-4C39-B074-5937A07F0C50}">
      <dsp:nvSpPr>
        <dsp:cNvPr id="0" name=""/>
        <dsp:cNvSpPr/>
      </dsp:nvSpPr>
      <dsp:spPr>
        <a:xfrm>
          <a:off x="9000961" y="2373"/>
          <a:ext cx="353314" cy="353314"/>
        </a:xfrm>
        <a:prstGeom prst="triangle">
          <a:avLst>
            <a:gd name="adj" fmla="val 100000"/>
          </a:avLst>
        </a:prstGeom>
        <a:solidFill>
          <a:schemeClr val="accent5">
            <a:alpha val="90000"/>
            <a:hueOff val="0"/>
            <a:satOff val="0"/>
            <a:lumOff val="0"/>
            <a:alphaOff val="-35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3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61F493-234D-40CB-A717-43E47652CD4F}">
      <dsp:nvSpPr>
        <dsp:cNvPr id="0" name=""/>
        <dsp:cNvSpPr/>
      </dsp:nvSpPr>
      <dsp:spPr>
        <a:xfrm rot="5400000">
          <a:off x="9982169" y="-412177"/>
          <a:ext cx="1246508" cy="2074161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-4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A49ED2-7C66-42C2-8457-00E571E78628}">
      <dsp:nvSpPr>
        <dsp:cNvPr id="0" name=""/>
        <dsp:cNvSpPr/>
      </dsp:nvSpPr>
      <dsp:spPr>
        <a:xfrm>
          <a:off x="9774096" y="207550"/>
          <a:ext cx="1872565" cy="16414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>
              <a:solidFill>
                <a:schemeClr val="bg2"/>
              </a:solidFill>
            </a:rPr>
            <a:t>Pflegeexperte</a:t>
          </a:r>
        </a:p>
      </dsp:txBody>
      <dsp:txXfrm>
        <a:off x="9774096" y="207550"/>
        <a:ext cx="1872565" cy="16414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D2CCAD-DFD5-4D14-8A4C-C6F7FB0EF6B3}">
      <dsp:nvSpPr>
        <dsp:cNvPr id="0" name=""/>
        <dsp:cNvSpPr/>
      </dsp:nvSpPr>
      <dsp:spPr>
        <a:xfrm>
          <a:off x="4614422" y="689"/>
          <a:ext cx="1715379" cy="85768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solidFill>
                <a:schemeClr val="tx1"/>
              </a:solidFill>
            </a:rPr>
            <a:t>Lernort Schule</a:t>
          </a:r>
        </a:p>
      </dsp:txBody>
      <dsp:txXfrm>
        <a:off x="4639543" y="25810"/>
        <a:ext cx="1665137" cy="807447"/>
      </dsp:txXfrm>
    </dsp:sp>
    <dsp:sp modelId="{908B5BFA-C9D5-4E65-A150-C2419EAF1F0E}">
      <dsp:nvSpPr>
        <dsp:cNvPr id="0" name=""/>
        <dsp:cNvSpPr/>
      </dsp:nvSpPr>
      <dsp:spPr>
        <a:xfrm rot="3600000">
          <a:off x="5733678" y="1505111"/>
          <a:ext cx="892152" cy="300191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kern="1200"/>
        </a:p>
      </dsp:txBody>
      <dsp:txXfrm>
        <a:off x="5823735" y="1565149"/>
        <a:ext cx="712038" cy="180115"/>
      </dsp:txXfrm>
    </dsp:sp>
    <dsp:sp modelId="{05683032-B906-40CA-9CC9-B22C1590C125}">
      <dsp:nvSpPr>
        <dsp:cNvPr id="0" name=""/>
        <dsp:cNvSpPr/>
      </dsp:nvSpPr>
      <dsp:spPr>
        <a:xfrm>
          <a:off x="6029708" y="2452035"/>
          <a:ext cx="1715379" cy="857689"/>
        </a:xfrm>
        <a:prstGeom prst="roundRect">
          <a:avLst>
            <a:gd name="adj" fmla="val 10000"/>
          </a:avLst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solidFill>
                <a:schemeClr val="tx1"/>
              </a:solidFill>
            </a:rPr>
            <a:t>Dritter Lernort</a:t>
          </a:r>
        </a:p>
      </dsp:txBody>
      <dsp:txXfrm>
        <a:off x="6054829" y="2477156"/>
        <a:ext cx="1665137" cy="807447"/>
      </dsp:txXfrm>
    </dsp:sp>
    <dsp:sp modelId="{40CBEAEC-48CA-478B-9D06-71FB3FF3C8FE}">
      <dsp:nvSpPr>
        <dsp:cNvPr id="0" name=""/>
        <dsp:cNvSpPr/>
      </dsp:nvSpPr>
      <dsp:spPr>
        <a:xfrm rot="10800000">
          <a:off x="5026036" y="2730784"/>
          <a:ext cx="892152" cy="300191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kern="1200"/>
        </a:p>
      </dsp:txBody>
      <dsp:txXfrm rot="10800000">
        <a:off x="5116093" y="2790822"/>
        <a:ext cx="712038" cy="180115"/>
      </dsp:txXfrm>
    </dsp:sp>
    <dsp:sp modelId="{8A820A42-892B-41B5-B333-B075D4C5B972}">
      <dsp:nvSpPr>
        <dsp:cNvPr id="0" name=""/>
        <dsp:cNvSpPr/>
      </dsp:nvSpPr>
      <dsp:spPr>
        <a:xfrm>
          <a:off x="3199137" y="2452035"/>
          <a:ext cx="1715379" cy="857689"/>
        </a:xfrm>
        <a:prstGeom prst="roundRect">
          <a:avLst>
            <a:gd name="adj" fmla="val 10000"/>
          </a:avLst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solidFill>
                <a:schemeClr val="tx1"/>
              </a:solidFill>
            </a:rPr>
            <a:t>Lernort Praxis</a:t>
          </a:r>
        </a:p>
      </dsp:txBody>
      <dsp:txXfrm>
        <a:off x="3224258" y="2477156"/>
        <a:ext cx="1665137" cy="807447"/>
      </dsp:txXfrm>
    </dsp:sp>
    <dsp:sp modelId="{7AD25AD6-3CA3-4459-9E7E-A26983344E23}">
      <dsp:nvSpPr>
        <dsp:cNvPr id="0" name=""/>
        <dsp:cNvSpPr/>
      </dsp:nvSpPr>
      <dsp:spPr>
        <a:xfrm rot="18000000">
          <a:off x="4318393" y="1505111"/>
          <a:ext cx="892152" cy="300191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kern="1200"/>
        </a:p>
      </dsp:txBody>
      <dsp:txXfrm>
        <a:off x="4408450" y="1565149"/>
        <a:ext cx="712038" cy="1801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D2CCAD-DFD5-4D14-8A4C-C6F7FB0EF6B3}">
      <dsp:nvSpPr>
        <dsp:cNvPr id="0" name=""/>
        <dsp:cNvSpPr/>
      </dsp:nvSpPr>
      <dsp:spPr>
        <a:xfrm>
          <a:off x="4614422" y="689"/>
          <a:ext cx="1715379" cy="85768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solidFill>
                <a:schemeClr val="tx1"/>
              </a:solidFill>
            </a:rPr>
            <a:t>Lernort Schule</a:t>
          </a:r>
        </a:p>
      </dsp:txBody>
      <dsp:txXfrm>
        <a:off x="4639543" y="25810"/>
        <a:ext cx="1665137" cy="807447"/>
      </dsp:txXfrm>
    </dsp:sp>
    <dsp:sp modelId="{908B5BFA-C9D5-4E65-A150-C2419EAF1F0E}">
      <dsp:nvSpPr>
        <dsp:cNvPr id="0" name=""/>
        <dsp:cNvSpPr/>
      </dsp:nvSpPr>
      <dsp:spPr>
        <a:xfrm rot="3600000">
          <a:off x="5733678" y="1505111"/>
          <a:ext cx="892152" cy="300191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kern="1200"/>
        </a:p>
      </dsp:txBody>
      <dsp:txXfrm>
        <a:off x="5823735" y="1565149"/>
        <a:ext cx="712038" cy="180115"/>
      </dsp:txXfrm>
    </dsp:sp>
    <dsp:sp modelId="{05683032-B906-40CA-9CC9-B22C1590C125}">
      <dsp:nvSpPr>
        <dsp:cNvPr id="0" name=""/>
        <dsp:cNvSpPr/>
      </dsp:nvSpPr>
      <dsp:spPr>
        <a:xfrm>
          <a:off x="6029708" y="2452035"/>
          <a:ext cx="1715379" cy="857689"/>
        </a:xfrm>
        <a:prstGeom prst="roundRect">
          <a:avLst>
            <a:gd name="adj" fmla="val 10000"/>
          </a:avLst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solidFill>
                <a:schemeClr val="tx1"/>
              </a:solidFill>
            </a:rPr>
            <a:t>Dritter Lernort</a:t>
          </a:r>
        </a:p>
      </dsp:txBody>
      <dsp:txXfrm>
        <a:off x="6054829" y="2477156"/>
        <a:ext cx="1665137" cy="807447"/>
      </dsp:txXfrm>
    </dsp:sp>
    <dsp:sp modelId="{40CBEAEC-48CA-478B-9D06-71FB3FF3C8FE}">
      <dsp:nvSpPr>
        <dsp:cNvPr id="0" name=""/>
        <dsp:cNvSpPr/>
      </dsp:nvSpPr>
      <dsp:spPr>
        <a:xfrm rot="10800000">
          <a:off x="5026036" y="2730784"/>
          <a:ext cx="892152" cy="300191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kern="1200"/>
        </a:p>
      </dsp:txBody>
      <dsp:txXfrm rot="10800000">
        <a:off x="5116093" y="2790822"/>
        <a:ext cx="712038" cy="180115"/>
      </dsp:txXfrm>
    </dsp:sp>
    <dsp:sp modelId="{8A820A42-892B-41B5-B333-B075D4C5B972}">
      <dsp:nvSpPr>
        <dsp:cNvPr id="0" name=""/>
        <dsp:cNvSpPr/>
      </dsp:nvSpPr>
      <dsp:spPr>
        <a:xfrm>
          <a:off x="3199137" y="2452035"/>
          <a:ext cx="1715379" cy="857689"/>
        </a:xfrm>
        <a:prstGeom prst="roundRect">
          <a:avLst>
            <a:gd name="adj" fmla="val 10000"/>
          </a:avLst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solidFill>
                <a:schemeClr val="tx1"/>
              </a:solidFill>
            </a:rPr>
            <a:t>Lernort Praxis</a:t>
          </a:r>
        </a:p>
      </dsp:txBody>
      <dsp:txXfrm>
        <a:off x="3224258" y="2477156"/>
        <a:ext cx="1665137" cy="807447"/>
      </dsp:txXfrm>
    </dsp:sp>
    <dsp:sp modelId="{7AD25AD6-3CA3-4459-9E7E-A26983344E23}">
      <dsp:nvSpPr>
        <dsp:cNvPr id="0" name=""/>
        <dsp:cNvSpPr/>
      </dsp:nvSpPr>
      <dsp:spPr>
        <a:xfrm rot="18000000">
          <a:off x="4318393" y="1505111"/>
          <a:ext cx="892152" cy="300191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kern="1200"/>
        </a:p>
      </dsp:txBody>
      <dsp:txXfrm>
        <a:off x="4408450" y="1565149"/>
        <a:ext cx="712038" cy="18011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870E1C-37D2-4D8B-9837-A3E8CC58F4BD}">
      <dsp:nvSpPr>
        <dsp:cNvPr id="0" name=""/>
        <dsp:cNvSpPr/>
      </dsp:nvSpPr>
      <dsp:spPr>
        <a:xfrm>
          <a:off x="0" y="2872768"/>
          <a:ext cx="10944225" cy="942906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Praktische Ausbildung hat Grenzen, die erkannt werden müssen</a:t>
          </a:r>
        </a:p>
      </dsp:txBody>
      <dsp:txXfrm>
        <a:off x="0" y="2872768"/>
        <a:ext cx="10944225" cy="942906"/>
      </dsp:txXfrm>
    </dsp:sp>
    <dsp:sp modelId="{2DE5C30F-AB88-4327-93ED-98BD5A2D86E7}">
      <dsp:nvSpPr>
        <dsp:cNvPr id="0" name=""/>
        <dsp:cNvSpPr/>
      </dsp:nvSpPr>
      <dsp:spPr>
        <a:xfrm rot="10800000">
          <a:off x="0" y="1436721"/>
          <a:ext cx="10944225" cy="1450190"/>
        </a:xfrm>
        <a:prstGeom prst="upArrowCallout">
          <a:avLst/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Grundlage für jede Anleitung im Spannungsfeld der praktischen Ausbildung</a:t>
          </a:r>
        </a:p>
      </dsp:txBody>
      <dsp:txXfrm rot="10800000">
        <a:off x="0" y="1436721"/>
        <a:ext cx="10944225" cy="942290"/>
      </dsp:txXfrm>
    </dsp:sp>
    <dsp:sp modelId="{88E04149-2F1D-4B52-B422-71A1C8D10487}">
      <dsp:nvSpPr>
        <dsp:cNvPr id="0" name=""/>
        <dsp:cNvSpPr/>
      </dsp:nvSpPr>
      <dsp:spPr>
        <a:xfrm rot="10800000">
          <a:off x="0" y="674"/>
          <a:ext cx="10944225" cy="1450190"/>
        </a:xfrm>
        <a:prstGeom prst="upArrowCallout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Kenne die Rahmenbedingungen</a:t>
          </a:r>
        </a:p>
      </dsp:txBody>
      <dsp:txXfrm rot="-10800000">
        <a:off x="0" y="674"/>
        <a:ext cx="10944225" cy="509016"/>
      </dsp:txXfrm>
    </dsp:sp>
    <dsp:sp modelId="{315F7C17-0D56-4AD2-81CD-280A0F9B68E2}">
      <dsp:nvSpPr>
        <dsp:cNvPr id="0" name=""/>
        <dsp:cNvSpPr/>
      </dsp:nvSpPr>
      <dsp:spPr>
        <a:xfrm>
          <a:off x="1335" y="509691"/>
          <a:ext cx="2188310" cy="433607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Organisation</a:t>
          </a:r>
        </a:p>
      </dsp:txBody>
      <dsp:txXfrm>
        <a:off x="1335" y="509691"/>
        <a:ext cx="2188310" cy="433607"/>
      </dsp:txXfrm>
    </dsp:sp>
    <dsp:sp modelId="{FFBF29FC-7603-4423-85A8-AC29C3B5BF9D}">
      <dsp:nvSpPr>
        <dsp:cNvPr id="0" name=""/>
        <dsp:cNvSpPr/>
      </dsp:nvSpPr>
      <dsp:spPr>
        <a:xfrm>
          <a:off x="2189646" y="509691"/>
          <a:ext cx="2188310" cy="433607"/>
        </a:xfrm>
        <a:prstGeom prst="rect">
          <a:avLst/>
        </a:prstGeom>
        <a:solidFill>
          <a:schemeClr val="accent5">
            <a:tint val="40000"/>
            <a:alpha val="90000"/>
            <a:hueOff val="-3491612"/>
            <a:satOff val="-1183"/>
            <a:lumOff val="-782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Aufgaben / Zuständigkeiten</a:t>
          </a:r>
        </a:p>
      </dsp:txBody>
      <dsp:txXfrm>
        <a:off x="2189646" y="509691"/>
        <a:ext cx="2188310" cy="433607"/>
      </dsp:txXfrm>
    </dsp:sp>
    <dsp:sp modelId="{61AAB6AD-567D-4476-B88E-7E269168C083}">
      <dsp:nvSpPr>
        <dsp:cNvPr id="0" name=""/>
        <dsp:cNvSpPr/>
      </dsp:nvSpPr>
      <dsp:spPr>
        <a:xfrm>
          <a:off x="4377957" y="509691"/>
          <a:ext cx="2188310" cy="433607"/>
        </a:xfrm>
        <a:prstGeom prst="rect">
          <a:avLst/>
        </a:prstGeom>
        <a:solidFill>
          <a:schemeClr val="accent5">
            <a:tint val="40000"/>
            <a:alpha val="90000"/>
            <a:hueOff val="-6983223"/>
            <a:satOff val="-2365"/>
            <a:lumOff val="-1564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Ausbildung</a:t>
          </a:r>
        </a:p>
      </dsp:txBody>
      <dsp:txXfrm>
        <a:off x="4377957" y="509691"/>
        <a:ext cx="2188310" cy="433607"/>
      </dsp:txXfrm>
    </dsp:sp>
    <dsp:sp modelId="{8D1636D6-344D-4245-9AA4-305533F31BBA}">
      <dsp:nvSpPr>
        <dsp:cNvPr id="0" name=""/>
        <dsp:cNvSpPr/>
      </dsp:nvSpPr>
      <dsp:spPr>
        <a:xfrm>
          <a:off x="6566267" y="509691"/>
          <a:ext cx="2188310" cy="433607"/>
        </a:xfrm>
        <a:prstGeom prst="rect">
          <a:avLst/>
        </a:prstGeom>
        <a:solidFill>
          <a:schemeClr val="accent5">
            <a:tint val="40000"/>
            <a:alpha val="90000"/>
            <a:hueOff val="-10474835"/>
            <a:satOff val="-3548"/>
            <a:lumOff val="-2347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Gesetzliche Vorgaben</a:t>
          </a:r>
        </a:p>
      </dsp:txBody>
      <dsp:txXfrm>
        <a:off x="6566267" y="509691"/>
        <a:ext cx="2188310" cy="433607"/>
      </dsp:txXfrm>
    </dsp:sp>
    <dsp:sp modelId="{64E22571-E845-4578-8462-BDCBF67046D4}">
      <dsp:nvSpPr>
        <dsp:cNvPr id="0" name=""/>
        <dsp:cNvSpPr/>
      </dsp:nvSpPr>
      <dsp:spPr>
        <a:xfrm>
          <a:off x="8754578" y="509691"/>
          <a:ext cx="2188310" cy="433607"/>
        </a:xfrm>
        <a:prstGeom prst="rect">
          <a:avLst/>
        </a:prstGeom>
        <a:solidFill>
          <a:schemeClr val="accent5">
            <a:tint val="40000"/>
            <a:alpha val="90000"/>
            <a:hueOff val="-13966447"/>
            <a:satOff val="-4731"/>
            <a:lumOff val="-3129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Kommunikation</a:t>
          </a:r>
        </a:p>
      </dsp:txBody>
      <dsp:txXfrm>
        <a:off x="8754578" y="509691"/>
        <a:ext cx="2188310" cy="43360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AC6801-FEEA-4FB3-B3AA-959B6F1F272E}">
      <dsp:nvSpPr>
        <dsp:cNvPr id="0" name=""/>
        <dsp:cNvSpPr/>
      </dsp:nvSpPr>
      <dsp:spPr>
        <a:xfrm>
          <a:off x="0" y="0"/>
          <a:ext cx="8315740" cy="1296352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Analyse der Rahmenbedingungen</a:t>
          </a:r>
        </a:p>
      </dsp:txBody>
      <dsp:txXfrm>
        <a:off x="37969" y="37969"/>
        <a:ext cx="6916874" cy="1220414"/>
      </dsp:txXfrm>
    </dsp:sp>
    <dsp:sp modelId="{7BA78D5B-4E89-49E9-B310-F08146E07D27}">
      <dsp:nvSpPr>
        <dsp:cNvPr id="0" name=""/>
        <dsp:cNvSpPr/>
      </dsp:nvSpPr>
      <dsp:spPr>
        <a:xfrm>
          <a:off x="733741" y="1512411"/>
          <a:ext cx="8315740" cy="1296352"/>
        </a:xfrm>
        <a:prstGeom prst="roundRect">
          <a:avLst>
            <a:gd name="adj" fmla="val 10000"/>
          </a:avLst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Mitgestaltung der Rahmenbedingungen</a:t>
          </a:r>
        </a:p>
      </dsp:txBody>
      <dsp:txXfrm>
        <a:off x="771710" y="1550380"/>
        <a:ext cx="6663431" cy="1220414"/>
      </dsp:txXfrm>
    </dsp:sp>
    <dsp:sp modelId="{4F426EC0-E9A0-4CCD-82EE-6D274B5B0336}">
      <dsp:nvSpPr>
        <dsp:cNvPr id="0" name=""/>
        <dsp:cNvSpPr/>
      </dsp:nvSpPr>
      <dsp:spPr>
        <a:xfrm>
          <a:off x="1467483" y="3024822"/>
          <a:ext cx="8315740" cy="1296352"/>
        </a:xfrm>
        <a:prstGeom prst="roundRect">
          <a:avLst>
            <a:gd name="adj" fmla="val 10000"/>
          </a:avLst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Inhaltliche Strukturierung der Praxisausbildung beeinfluss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>
              <a:solidFill>
                <a:schemeClr val="tx1"/>
              </a:solidFill>
            </a:rPr>
            <a:t>Lernangebote schaff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>
              <a:solidFill>
                <a:schemeClr val="tx1"/>
              </a:solidFill>
            </a:rPr>
            <a:t>Anleitungsaufgaben erstell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>
              <a:solidFill>
                <a:schemeClr val="tx1"/>
              </a:solidFill>
            </a:rPr>
            <a:t>Kommunikative Rahmenbedingungen gestalten</a:t>
          </a:r>
        </a:p>
      </dsp:txBody>
      <dsp:txXfrm>
        <a:off x="1505452" y="3062791"/>
        <a:ext cx="6663431" cy="1220414"/>
      </dsp:txXfrm>
    </dsp:sp>
    <dsp:sp modelId="{C302653A-D7AB-4A00-B4E2-77F1A1113228}">
      <dsp:nvSpPr>
        <dsp:cNvPr id="0" name=""/>
        <dsp:cNvSpPr/>
      </dsp:nvSpPr>
      <dsp:spPr>
        <a:xfrm>
          <a:off x="7473111" y="983067"/>
          <a:ext cx="842629" cy="842629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3300" kern="1200"/>
        </a:p>
      </dsp:txBody>
      <dsp:txXfrm>
        <a:off x="7662703" y="983067"/>
        <a:ext cx="463445" cy="634078"/>
      </dsp:txXfrm>
    </dsp:sp>
    <dsp:sp modelId="{EA7B44C7-CAF8-4071-A3BD-F217F1D92801}">
      <dsp:nvSpPr>
        <dsp:cNvPr id="0" name=""/>
        <dsp:cNvSpPr/>
      </dsp:nvSpPr>
      <dsp:spPr>
        <a:xfrm>
          <a:off x="8206853" y="2486836"/>
          <a:ext cx="842629" cy="842629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-13966447"/>
            <a:satOff val="-4731"/>
            <a:lumOff val="-3129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3300" kern="1200"/>
        </a:p>
      </dsp:txBody>
      <dsp:txXfrm>
        <a:off x="8396445" y="2486836"/>
        <a:ext cx="463445" cy="63407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8BD005-6E68-4596-AD7A-92C0F6A0B2DF}">
      <dsp:nvSpPr>
        <dsp:cNvPr id="0" name=""/>
        <dsp:cNvSpPr/>
      </dsp:nvSpPr>
      <dsp:spPr>
        <a:xfrm>
          <a:off x="0" y="2891152"/>
          <a:ext cx="10197427" cy="94894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Praxisanleitung</a:t>
          </a:r>
        </a:p>
      </dsp:txBody>
      <dsp:txXfrm>
        <a:off x="0" y="2891152"/>
        <a:ext cx="10197427" cy="512427"/>
      </dsp:txXfrm>
    </dsp:sp>
    <dsp:sp modelId="{B10772BB-126D-4499-8773-0DAD68B1B1AA}">
      <dsp:nvSpPr>
        <dsp:cNvPr id="0" name=""/>
        <dsp:cNvSpPr/>
      </dsp:nvSpPr>
      <dsp:spPr>
        <a:xfrm>
          <a:off x="1244" y="3384601"/>
          <a:ext cx="2038987" cy="436512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Vorgespräch</a:t>
          </a:r>
        </a:p>
      </dsp:txBody>
      <dsp:txXfrm>
        <a:off x="1244" y="3384601"/>
        <a:ext cx="2038987" cy="436512"/>
      </dsp:txXfrm>
    </dsp:sp>
    <dsp:sp modelId="{D163A844-AFC0-427A-BEE0-DDBD3D0A3AE5}">
      <dsp:nvSpPr>
        <dsp:cNvPr id="0" name=""/>
        <dsp:cNvSpPr/>
      </dsp:nvSpPr>
      <dsp:spPr>
        <a:xfrm>
          <a:off x="2040232" y="3384601"/>
          <a:ext cx="2038987" cy="436512"/>
        </a:xfrm>
        <a:prstGeom prst="rect">
          <a:avLst/>
        </a:prstGeom>
        <a:solidFill>
          <a:schemeClr val="accent5">
            <a:tint val="40000"/>
            <a:alpha val="90000"/>
            <a:hueOff val="-1995207"/>
            <a:satOff val="-676"/>
            <a:lumOff val="-447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Feedback</a:t>
          </a:r>
        </a:p>
      </dsp:txBody>
      <dsp:txXfrm>
        <a:off x="2040232" y="3384601"/>
        <a:ext cx="2038987" cy="436512"/>
      </dsp:txXfrm>
    </dsp:sp>
    <dsp:sp modelId="{84CC2E04-8A19-4856-94EF-D7A57687B732}">
      <dsp:nvSpPr>
        <dsp:cNvPr id="0" name=""/>
        <dsp:cNvSpPr/>
      </dsp:nvSpPr>
      <dsp:spPr>
        <a:xfrm>
          <a:off x="4079219" y="3384601"/>
          <a:ext cx="2038987" cy="436512"/>
        </a:xfrm>
        <a:prstGeom prst="rect">
          <a:avLst/>
        </a:prstGeom>
        <a:solidFill>
          <a:schemeClr val="accent5">
            <a:tint val="40000"/>
            <a:alpha val="90000"/>
            <a:hueOff val="-3990413"/>
            <a:satOff val="-1352"/>
            <a:lumOff val="-894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Nachgespräch</a:t>
          </a:r>
        </a:p>
      </dsp:txBody>
      <dsp:txXfrm>
        <a:off x="4079219" y="3384601"/>
        <a:ext cx="2038987" cy="436512"/>
      </dsp:txXfrm>
    </dsp:sp>
    <dsp:sp modelId="{62B896BB-7355-49C7-A962-EE3618FFD167}">
      <dsp:nvSpPr>
        <dsp:cNvPr id="0" name=""/>
        <dsp:cNvSpPr/>
      </dsp:nvSpPr>
      <dsp:spPr>
        <a:xfrm>
          <a:off x="6118207" y="3384601"/>
          <a:ext cx="2038987" cy="436512"/>
        </a:xfrm>
        <a:prstGeom prst="rect">
          <a:avLst/>
        </a:prstGeom>
        <a:solidFill>
          <a:schemeClr val="accent5">
            <a:tint val="40000"/>
            <a:alpha val="90000"/>
            <a:hueOff val="-5985620"/>
            <a:satOff val="-2028"/>
            <a:lumOff val="-1341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Beurteilung</a:t>
          </a:r>
        </a:p>
      </dsp:txBody>
      <dsp:txXfrm>
        <a:off x="6118207" y="3384601"/>
        <a:ext cx="2038987" cy="436512"/>
      </dsp:txXfrm>
    </dsp:sp>
    <dsp:sp modelId="{CF2BCF8D-39F6-4662-AE6C-DFDBB11380A3}">
      <dsp:nvSpPr>
        <dsp:cNvPr id="0" name=""/>
        <dsp:cNvSpPr/>
      </dsp:nvSpPr>
      <dsp:spPr>
        <a:xfrm>
          <a:off x="8157194" y="3384601"/>
          <a:ext cx="2038987" cy="436512"/>
        </a:xfrm>
        <a:prstGeom prst="rect">
          <a:avLst/>
        </a:prstGeom>
        <a:solidFill>
          <a:schemeClr val="accent5">
            <a:tint val="40000"/>
            <a:alpha val="90000"/>
            <a:hueOff val="-7980827"/>
            <a:satOff val="-2703"/>
            <a:lumOff val="-1788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Prüfung</a:t>
          </a:r>
        </a:p>
      </dsp:txBody>
      <dsp:txXfrm>
        <a:off x="8157194" y="3384601"/>
        <a:ext cx="2038987" cy="436512"/>
      </dsp:txXfrm>
    </dsp:sp>
    <dsp:sp modelId="{DAFE956A-B514-49DC-9499-3BE915EC3465}">
      <dsp:nvSpPr>
        <dsp:cNvPr id="0" name=""/>
        <dsp:cNvSpPr/>
      </dsp:nvSpPr>
      <dsp:spPr>
        <a:xfrm rot="10800000">
          <a:off x="0" y="1445915"/>
          <a:ext cx="10197427" cy="1459470"/>
        </a:xfrm>
        <a:prstGeom prst="upArrowCallout">
          <a:avLst/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Praktischer Einsatz</a:t>
          </a:r>
        </a:p>
      </dsp:txBody>
      <dsp:txXfrm rot="-10800000">
        <a:off x="0" y="1445915"/>
        <a:ext cx="10197427" cy="512274"/>
      </dsp:txXfrm>
    </dsp:sp>
    <dsp:sp modelId="{518719FA-A374-4E03-9637-3883504AD78F}">
      <dsp:nvSpPr>
        <dsp:cNvPr id="0" name=""/>
        <dsp:cNvSpPr/>
      </dsp:nvSpPr>
      <dsp:spPr>
        <a:xfrm>
          <a:off x="4979" y="1958189"/>
          <a:ext cx="3395822" cy="436381"/>
        </a:xfrm>
        <a:prstGeom prst="rect">
          <a:avLst/>
        </a:prstGeom>
        <a:solidFill>
          <a:schemeClr val="accent5">
            <a:tint val="40000"/>
            <a:alpha val="90000"/>
            <a:hueOff val="-9976034"/>
            <a:satOff val="-3379"/>
            <a:lumOff val="-2235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0" kern="1200" dirty="0">
              <a:solidFill>
                <a:schemeClr val="tx1"/>
              </a:solidFill>
            </a:rPr>
            <a:t>Erstgespräch</a:t>
          </a:r>
        </a:p>
      </dsp:txBody>
      <dsp:txXfrm>
        <a:off x="4979" y="1958189"/>
        <a:ext cx="3395822" cy="436381"/>
      </dsp:txXfrm>
    </dsp:sp>
    <dsp:sp modelId="{1377A2E7-FB76-4FB4-B53D-4506436E4DCC}">
      <dsp:nvSpPr>
        <dsp:cNvPr id="0" name=""/>
        <dsp:cNvSpPr/>
      </dsp:nvSpPr>
      <dsp:spPr>
        <a:xfrm>
          <a:off x="3400802" y="1958189"/>
          <a:ext cx="3395822" cy="436381"/>
        </a:xfrm>
        <a:prstGeom prst="rect">
          <a:avLst/>
        </a:prstGeom>
        <a:solidFill>
          <a:schemeClr val="accent5">
            <a:tint val="40000"/>
            <a:alpha val="90000"/>
            <a:hueOff val="-11971240"/>
            <a:satOff val="-4055"/>
            <a:lumOff val="-2682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0" kern="1200" dirty="0">
              <a:solidFill>
                <a:schemeClr val="tx1"/>
              </a:solidFill>
            </a:rPr>
            <a:t>Zwischengespräch</a:t>
          </a:r>
        </a:p>
      </dsp:txBody>
      <dsp:txXfrm>
        <a:off x="3400802" y="1958189"/>
        <a:ext cx="3395822" cy="436381"/>
      </dsp:txXfrm>
    </dsp:sp>
    <dsp:sp modelId="{651654FB-2396-49CE-8E59-5CFD5ADF4552}">
      <dsp:nvSpPr>
        <dsp:cNvPr id="0" name=""/>
        <dsp:cNvSpPr/>
      </dsp:nvSpPr>
      <dsp:spPr>
        <a:xfrm>
          <a:off x="6796624" y="1958189"/>
          <a:ext cx="3395822" cy="436381"/>
        </a:xfrm>
        <a:prstGeom prst="rect">
          <a:avLst/>
        </a:prstGeom>
        <a:solidFill>
          <a:schemeClr val="accent5">
            <a:tint val="40000"/>
            <a:alpha val="90000"/>
            <a:hueOff val="-13966447"/>
            <a:satOff val="-4731"/>
            <a:lumOff val="-3129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0" kern="1200" dirty="0">
              <a:solidFill>
                <a:schemeClr val="tx1"/>
              </a:solidFill>
            </a:rPr>
            <a:t>Abschlussgespräch</a:t>
          </a:r>
        </a:p>
      </dsp:txBody>
      <dsp:txXfrm>
        <a:off x="6796624" y="1958189"/>
        <a:ext cx="3395822" cy="436381"/>
      </dsp:txXfrm>
    </dsp:sp>
    <dsp:sp modelId="{206E2217-65CD-4204-A3C0-953503D72348}">
      <dsp:nvSpPr>
        <dsp:cNvPr id="0" name=""/>
        <dsp:cNvSpPr/>
      </dsp:nvSpPr>
      <dsp:spPr>
        <a:xfrm rot="10800000">
          <a:off x="0" y="678"/>
          <a:ext cx="10197427" cy="1459470"/>
        </a:xfrm>
        <a:prstGeom prst="upArrowCallout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Kommunikation</a:t>
          </a:r>
        </a:p>
      </dsp:txBody>
      <dsp:txXfrm rot="10800000">
        <a:off x="0" y="678"/>
        <a:ext cx="10197427" cy="94832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8BD005-6E68-4596-AD7A-92C0F6A0B2DF}">
      <dsp:nvSpPr>
        <dsp:cNvPr id="0" name=""/>
        <dsp:cNvSpPr/>
      </dsp:nvSpPr>
      <dsp:spPr>
        <a:xfrm>
          <a:off x="0" y="2891152"/>
          <a:ext cx="10197427" cy="948940"/>
        </a:xfrm>
        <a:prstGeom prst="rect">
          <a:avLst/>
        </a:prstGeom>
        <a:solidFill>
          <a:schemeClr val="bg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2"/>
              </a:solidFill>
            </a:rPr>
            <a:t>Praxisanleitung</a:t>
          </a:r>
        </a:p>
      </dsp:txBody>
      <dsp:txXfrm>
        <a:off x="0" y="2891152"/>
        <a:ext cx="10197427" cy="512427"/>
      </dsp:txXfrm>
    </dsp:sp>
    <dsp:sp modelId="{B10772BB-126D-4499-8773-0DAD68B1B1AA}">
      <dsp:nvSpPr>
        <dsp:cNvPr id="0" name=""/>
        <dsp:cNvSpPr/>
      </dsp:nvSpPr>
      <dsp:spPr>
        <a:xfrm>
          <a:off x="1244" y="3384601"/>
          <a:ext cx="2038987" cy="436512"/>
        </a:xfrm>
        <a:prstGeom prst="rect">
          <a:avLst/>
        </a:prstGeom>
        <a:solidFill>
          <a:schemeClr val="bg2">
            <a:lumMod val="20000"/>
            <a:lumOff val="8000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2"/>
              </a:solidFill>
            </a:rPr>
            <a:t>Vorgespräch</a:t>
          </a:r>
        </a:p>
      </dsp:txBody>
      <dsp:txXfrm>
        <a:off x="1244" y="3384601"/>
        <a:ext cx="2038987" cy="436512"/>
      </dsp:txXfrm>
    </dsp:sp>
    <dsp:sp modelId="{D163A844-AFC0-427A-BEE0-DDBD3D0A3AE5}">
      <dsp:nvSpPr>
        <dsp:cNvPr id="0" name=""/>
        <dsp:cNvSpPr/>
      </dsp:nvSpPr>
      <dsp:spPr>
        <a:xfrm>
          <a:off x="2040232" y="3384601"/>
          <a:ext cx="2038987" cy="436512"/>
        </a:xfrm>
        <a:prstGeom prst="rect">
          <a:avLst/>
        </a:prstGeom>
        <a:solidFill>
          <a:schemeClr val="bg2">
            <a:lumMod val="20000"/>
            <a:lumOff val="8000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2"/>
              </a:solidFill>
            </a:rPr>
            <a:t>Feedback</a:t>
          </a:r>
        </a:p>
      </dsp:txBody>
      <dsp:txXfrm>
        <a:off x="2040232" y="3384601"/>
        <a:ext cx="2038987" cy="436512"/>
      </dsp:txXfrm>
    </dsp:sp>
    <dsp:sp modelId="{84CC2E04-8A19-4856-94EF-D7A57687B732}">
      <dsp:nvSpPr>
        <dsp:cNvPr id="0" name=""/>
        <dsp:cNvSpPr/>
      </dsp:nvSpPr>
      <dsp:spPr>
        <a:xfrm>
          <a:off x="4079219" y="3384601"/>
          <a:ext cx="2038987" cy="436512"/>
        </a:xfrm>
        <a:prstGeom prst="rect">
          <a:avLst/>
        </a:prstGeom>
        <a:solidFill>
          <a:schemeClr val="bg2">
            <a:lumMod val="20000"/>
            <a:lumOff val="8000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2"/>
              </a:solidFill>
            </a:rPr>
            <a:t>Nachgespräch</a:t>
          </a:r>
        </a:p>
      </dsp:txBody>
      <dsp:txXfrm>
        <a:off x="4079219" y="3384601"/>
        <a:ext cx="2038987" cy="436512"/>
      </dsp:txXfrm>
    </dsp:sp>
    <dsp:sp modelId="{62B896BB-7355-49C7-A962-EE3618FFD167}">
      <dsp:nvSpPr>
        <dsp:cNvPr id="0" name=""/>
        <dsp:cNvSpPr/>
      </dsp:nvSpPr>
      <dsp:spPr>
        <a:xfrm>
          <a:off x="6118207" y="3384601"/>
          <a:ext cx="2038987" cy="436512"/>
        </a:xfrm>
        <a:prstGeom prst="rect">
          <a:avLst/>
        </a:prstGeom>
        <a:solidFill>
          <a:schemeClr val="bg2">
            <a:lumMod val="20000"/>
            <a:lumOff val="8000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2"/>
              </a:solidFill>
            </a:rPr>
            <a:t>Beurteilung</a:t>
          </a:r>
        </a:p>
      </dsp:txBody>
      <dsp:txXfrm>
        <a:off x="6118207" y="3384601"/>
        <a:ext cx="2038987" cy="436512"/>
      </dsp:txXfrm>
    </dsp:sp>
    <dsp:sp modelId="{CF2BCF8D-39F6-4662-AE6C-DFDBB11380A3}">
      <dsp:nvSpPr>
        <dsp:cNvPr id="0" name=""/>
        <dsp:cNvSpPr/>
      </dsp:nvSpPr>
      <dsp:spPr>
        <a:xfrm>
          <a:off x="8157194" y="3384601"/>
          <a:ext cx="2038987" cy="436512"/>
        </a:xfrm>
        <a:prstGeom prst="rect">
          <a:avLst/>
        </a:prstGeom>
        <a:solidFill>
          <a:schemeClr val="bg2">
            <a:lumMod val="20000"/>
            <a:lumOff val="8000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2"/>
              </a:solidFill>
            </a:rPr>
            <a:t>Prüfung</a:t>
          </a:r>
        </a:p>
      </dsp:txBody>
      <dsp:txXfrm>
        <a:off x="8157194" y="3384601"/>
        <a:ext cx="2038987" cy="436512"/>
      </dsp:txXfrm>
    </dsp:sp>
    <dsp:sp modelId="{DAFE956A-B514-49DC-9499-3BE915EC3465}">
      <dsp:nvSpPr>
        <dsp:cNvPr id="0" name=""/>
        <dsp:cNvSpPr/>
      </dsp:nvSpPr>
      <dsp:spPr>
        <a:xfrm rot="10800000">
          <a:off x="0" y="1445915"/>
          <a:ext cx="10197427" cy="1459470"/>
        </a:xfrm>
        <a:prstGeom prst="upArrowCallout">
          <a:avLst/>
        </a:prstGeom>
        <a:solidFill>
          <a:schemeClr val="accent5">
            <a:hueOff val="-6975009"/>
            <a:satOff val="-1974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tx1"/>
              </a:solidFill>
            </a:rPr>
            <a:t>Praktischer Einsatz</a:t>
          </a:r>
        </a:p>
      </dsp:txBody>
      <dsp:txXfrm rot="-10800000">
        <a:off x="0" y="1445915"/>
        <a:ext cx="10197427" cy="512274"/>
      </dsp:txXfrm>
    </dsp:sp>
    <dsp:sp modelId="{518719FA-A374-4E03-9637-3883504AD78F}">
      <dsp:nvSpPr>
        <dsp:cNvPr id="0" name=""/>
        <dsp:cNvSpPr/>
      </dsp:nvSpPr>
      <dsp:spPr>
        <a:xfrm>
          <a:off x="4979" y="1958189"/>
          <a:ext cx="3395822" cy="436381"/>
        </a:xfrm>
        <a:prstGeom prst="rect">
          <a:avLst/>
        </a:prstGeom>
        <a:solidFill>
          <a:schemeClr val="accent5">
            <a:tint val="40000"/>
            <a:alpha val="90000"/>
            <a:hueOff val="-9976034"/>
            <a:satOff val="-3379"/>
            <a:lumOff val="-2235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0" kern="1200" dirty="0">
              <a:solidFill>
                <a:schemeClr val="tx1"/>
              </a:solidFill>
            </a:rPr>
            <a:t>Erstgespräch</a:t>
          </a:r>
        </a:p>
      </dsp:txBody>
      <dsp:txXfrm>
        <a:off x="4979" y="1958189"/>
        <a:ext cx="3395822" cy="436381"/>
      </dsp:txXfrm>
    </dsp:sp>
    <dsp:sp modelId="{1377A2E7-FB76-4FB4-B53D-4506436E4DCC}">
      <dsp:nvSpPr>
        <dsp:cNvPr id="0" name=""/>
        <dsp:cNvSpPr/>
      </dsp:nvSpPr>
      <dsp:spPr>
        <a:xfrm>
          <a:off x="3400802" y="1958189"/>
          <a:ext cx="3395822" cy="436381"/>
        </a:xfrm>
        <a:prstGeom prst="rect">
          <a:avLst/>
        </a:prstGeom>
        <a:solidFill>
          <a:schemeClr val="accent5">
            <a:tint val="40000"/>
            <a:alpha val="90000"/>
            <a:hueOff val="-11971240"/>
            <a:satOff val="-4055"/>
            <a:lumOff val="-2682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0" kern="1200" dirty="0">
              <a:solidFill>
                <a:schemeClr val="tx1"/>
              </a:solidFill>
            </a:rPr>
            <a:t>Zwischengespräch</a:t>
          </a:r>
        </a:p>
      </dsp:txBody>
      <dsp:txXfrm>
        <a:off x="3400802" y="1958189"/>
        <a:ext cx="3395822" cy="436381"/>
      </dsp:txXfrm>
    </dsp:sp>
    <dsp:sp modelId="{651654FB-2396-49CE-8E59-5CFD5ADF4552}">
      <dsp:nvSpPr>
        <dsp:cNvPr id="0" name=""/>
        <dsp:cNvSpPr/>
      </dsp:nvSpPr>
      <dsp:spPr>
        <a:xfrm>
          <a:off x="6796624" y="1958189"/>
          <a:ext cx="3395822" cy="436381"/>
        </a:xfrm>
        <a:prstGeom prst="rect">
          <a:avLst/>
        </a:prstGeom>
        <a:solidFill>
          <a:schemeClr val="accent5">
            <a:tint val="40000"/>
            <a:alpha val="90000"/>
            <a:hueOff val="-13966447"/>
            <a:satOff val="-4731"/>
            <a:lumOff val="-3129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0" kern="1200" dirty="0">
              <a:solidFill>
                <a:schemeClr val="tx1"/>
              </a:solidFill>
            </a:rPr>
            <a:t>Abschlussgespräch</a:t>
          </a:r>
        </a:p>
      </dsp:txBody>
      <dsp:txXfrm>
        <a:off x="6796624" y="1958189"/>
        <a:ext cx="3395822" cy="436381"/>
      </dsp:txXfrm>
    </dsp:sp>
    <dsp:sp modelId="{206E2217-65CD-4204-A3C0-953503D72348}">
      <dsp:nvSpPr>
        <dsp:cNvPr id="0" name=""/>
        <dsp:cNvSpPr/>
      </dsp:nvSpPr>
      <dsp:spPr>
        <a:xfrm rot="10800000">
          <a:off x="0" y="678"/>
          <a:ext cx="10197427" cy="1459470"/>
        </a:xfrm>
        <a:prstGeom prst="upArrowCallout">
          <a:avLst/>
        </a:prstGeom>
        <a:solidFill>
          <a:schemeClr val="bg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2"/>
              </a:solidFill>
            </a:rPr>
            <a:t>Kommunikation</a:t>
          </a:r>
        </a:p>
      </dsp:txBody>
      <dsp:txXfrm rot="10800000">
        <a:off x="0" y="678"/>
        <a:ext cx="10197427" cy="94832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0C7E8A-1620-4DA5-BEBE-B6DBEBB9F16F}">
      <dsp:nvSpPr>
        <dsp:cNvPr id="0" name=""/>
        <dsp:cNvSpPr/>
      </dsp:nvSpPr>
      <dsp:spPr>
        <a:xfrm>
          <a:off x="-4871985" y="-746618"/>
          <a:ext cx="5802644" cy="5802644"/>
        </a:xfrm>
        <a:prstGeom prst="blockArc">
          <a:avLst>
            <a:gd name="adj1" fmla="val 18900000"/>
            <a:gd name="adj2" fmla="val 2700000"/>
            <a:gd name="adj3" fmla="val 372"/>
          </a:avLst>
        </a:pr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AF88B6-BBE2-4B09-81DE-93ED4CA8BBFF}">
      <dsp:nvSpPr>
        <dsp:cNvPr id="0" name=""/>
        <dsp:cNvSpPr/>
      </dsp:nvSpPr>
      <dsp:spPr>
        <a:xfrm>
          <a:off x="347314" y="226933"/>
          <a:ext cx="8447842" cy="45369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120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Aktives Zuhören</a:t>
          </a:r>
        </a:p>
      </dsp:txBody>
      <dsp:txXfrm>
        <a:off x="347314" y="226933"/>
        <a:ext cx="8447842" cy="453694"/>
      </dsp:txXfrm>
    </dsp:sp>
    <dsp:sp modelId="{C8F213C5-9F16-4466-8C0D-BC3BAE090B99}">
      <dsp:nvSpPr>
        <dsp:cNvPr id="0" name=""/>
        <dsp:cNvSpPr/>
      </dsp:nvSpPr>
      <dsp:spPr>
        <a:xfrm>
          <a:off x="63755" y="170221"/>
          <a:ext cx="567118" cy="5671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9491CA-5A6A-404E-8193-1B37983C49ED}">
      <dsp:nvSpPr>
        <dsp:cNvPr id="0" name=""/>
        <dsp:cNvSpPr/>
      </dsp:nvSpPr>
      <dsp:spPr>
        <a:xfrm>
          <a:off x="720509" y="907388"/>
          <a:ext cx="8074648" cy="453694"/>
        </a:xfrm>
        <a:prstGeom prst="rect">
          <a:avLst/>
        </a:prstGeom>
        <a:solidFill>
          <a:schemeClr val="accent5">
            <a:hueOff val="-2790004"/>
            <a:satOff val="-790"/>
            <a:lumOff val="-172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120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5 Axiome nach </a:t>
          </a:r>
          <a:r>
            <a:rPr lang="de-DE" sz="2000" kern="1200" dirty="0" err="1">
              <a:solidFill>
                <a:schemeClr val="tx1"/>
              </a:solidFill>
            </a:rPr>
            <a:t>Watzlawik</a:t>
          </a:r>
          <a:endParaRPr lang="de-DE" sz="2000" kern="1200" dirty="0">
            <a:solidFill>
              <a:schemeClr val="tx1"/>
            </a:solidFill>
          </a:endParaRPr>
        </a:p>
      </dsp:txBody>
      <dsp:txXfrm>
        <a:off x="720509" y="907388"/>
        <a:ext cx="8074648" cy="453694"/>
      </dsp:txXfrm>
    </dsp:sp>
    <dsp:sp modelId="{3C3C5993-0F17-45B7-8A38-BED0218EFEF5}">
      <dsp:nvSpPr>
        <dsp:cNvPr id="0" name=""/>
        <dsp:cNvSpPr/>
      </dsp:nvSpPr>
      <dsp:spPr>
        <a:xfrm>
          <a:off x="436950" y="850677"/>
          <a:ext cx="567118" cy="5671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2790004"/>
              <a:satOff val="-790"/>
              <a:lumOff val="-172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7C4CD6-4381-4435-A852-220923B9DE3B}">
      <dsp:nvSpPr>
        <dsp:cNvPr id="0" name=""/>
        <dsp:cNvSpPr/>
      </dsp:nvSpPr>
      <dsp:spPr>
        <a:xfrm>
          <a:off x="891161" y="1587844"/>
          <a:ext cx="7903995" cy="453694"/>
        </a:xfrm>
        <a:prstGeom prst="rect">
          <a:avLst/>
        </a:prstGeom>
        <a:solidFill>
          <a:schemeClr val="accent5">
            <a:hueOff val="-5580007"/>
            <a:satOff val="-1579"/>
            <a:lumOff val="-345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120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Sender-Empfänger Modell – Shannon / Weaver</a:t>
          </a:r>
        </a:p>
      </dsp:txBody>
      <dsp:txXfrm>
        <a:off x="891161" y="1587844"/>
        <a:ext cx="7903995" cy="453694"/>
      </dsp:txXfrm>
    </dsp:sp>
    <dsp:sp modelId="{09E25155-D001-4FCC-B0F0-906EE98E26FA}">
      <dsp:nvSpPr>
        <dsp:cNvPr id="0" name=""/>
        <dsp:cNvSpPr/>
      </dsp:nvSpPr>
      <dsp:spPr>
        <a:xfrm>
          <a:off x="607602" y="1531132"/>
          <a:ext cx="567118" cy="5671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5580007"/>
              <a:satOff val="-1579"/>
              <a:lumOff val="-345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7F4F57-3F8A-4CB8-ACC4-97C98C6B11C5}">
      <dsp:nvSpPr>
        <dsp:cNvPr id="0" name=""/>
        <dsp:cNvSpPr/>
      </dsp:nvSpPr>
      <dsp:spPr>
        <a:xfrm>
          <a:off x="891161" y="2267869"/>
          <a:ext cx="7903995" cy="453694"/>
        </a:xfrm>
        <a:prstGeom prst="rect">
          <a:avLst/>
        </a:prstGeom>
        <a:solidFill>
          <a:schemeClr val="accent5">
            <a:hueOff val="-8370011"/>
            <a:satOff val="-2369"/>
            <a:lumOff val="-51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120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Kommunikationsquadrat – Schulz von Thun</a:t>
          </a:r>
        </a:p>
      </dsp:txBody>
      <dsp:txXfrm>
        <a:off x="891161" y="2267869"/>
        <a:ext cx="7903995" cy="453694"/>
      </dsp:txXfrm>
    </dsp:sp>
    <dsp:sp modelId="{850F1105-1691-4C66-BC6A-6E2909201C31}">
      <dsp:nvSpPr>
        <dsp:cNvPr id="0" name=""/>
        <dsp:cNvSpPr/>
      </dsp:nvSpPr>
      <dsp:spPr>
        <a:xfrm>
          <a:off x="607602" y="2211157"/>
          <a:ext cx="567118" cy="5671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8370011"/>
              <a:satOff val="-2369"/>
              <a:lumOff val="-517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A8CF04-A4B1-4806-B1EA-EC5DD3E852E0}">
      <dsp:nvSpPr>
        <dsp:cNvPr id="0" name=""/>
        <dsp:cNvSpPr/>
      </dsp:nvSpPr>
      <dsp:spPr>
        <a:xfrm>
          <a:off x="720509" y="2948324"/>
          <a:ext cx="8074648" cy="453694"/>
        </a:xfrm>
        <a:prstGeom prst="rect">
          <a:avLst/>
        </a:prstGeom>
        <a:solidFill>
          <a:schemeClr val="accent5">
            <a:hueOff val="-11160015"/>
            <a:satOff val="-3158"/>
            <a:lumOff val="-690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120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Johari-Fenster</a:t>
          </a:r>
        </a:p>
      </dsp:txBody>
      <dsp:txXfrm>
        <a:off x="720509" y="2948324"/>
        <a:ext cx="8074648" cy="453694"/>
      </dsp:txXfrm>
    </dsp:sp>
    <dsp:sp modelId="{A744BE90-3E17-47F6-85BB-4128DC1F2A4C}">
      <dsp:nvSpPr>
        <dsp:cNvPr id="0" name=""/>
        <dsp:cNvSpPr/>
      </dsp:nvSpPr>
      <dsp:spPr>
        <a:xfrm>
          <a:off x="436950" y="2891612"/>
          <a:ext cx="567118" cy="5671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11160015"/>
              <a:satOff val="-3158"/>
              <a:lumOff val="-690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42E38F-3B45-40CE-865D-DA55F82020DC}">
      <dsp:nvSpPr>
        <dsp:cNvPr id="0" name=""/>
        <dsp:cNvSpPr/>
      </dsp:nvSpPr>
      <dsp:spPr>
        <a:xfrm>
          <a:off x="347314" y="3628780"/>
          <a:ext cx="8447842" cy="453694"/>
        </a:xfrm>
        <a:prstGeom prst="rect">
          <a:avLst/>
        </a:prstGeom>
        <a:solidFill>
          <a:schemeClr val="accent5">
            <a:hueOff val="-13950018"/>
            <a:satOff val="-3948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120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solidFill>
                <a:schemeClr val="tx1"/>
              </a:solidFill>
            </a:rPr>
            <a:t>…</a:t>
          </a:r>
        </a:p>
      </dsp:txBody>
      <dsp:txXfrm>
        <a:off x="347314" y="3628780"/>
        <a:ext cx="8447842" cy="453694"/>
      </dsp:txXfrm>
    </dsp:sp>
    <dsp:sp modelId="{CE23794F-5D82-4974-B625-D1EF7677F337}">
      <dsp:nvSpPr>
        <dsp:cNvPr id="0" name=""/>
        <dsp:cNvSpPr/>
      </dsp:nvSpPr>
      <dsp:spPr>
        <a:xfrm>
          <a:off x="63755" y="3572068"/>
          <a:ext cx="567118" cy="5671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13950018"/>
              <a:satOff val="-3948"/>
              <a:lumOff val="-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9407</cdr:x>
      <cdr:y>0.52332</cdr:y>
    </cdr:from>
    <cdr:to>
      <cdr:x>0.50591</cdr:x>
      <cdr:y>0.53571</cdr:y>
    </cdr:to>
    <cdr:sp macro="" textlink="">
      <cdr:nvSpPr>
        <cdr:cNvPr id="2" name="Ellipse 1"/>
        <cdr:cNvSpPr/>
      </cdr:nvSpPr>
      <cdr:spPr>
        <a:xfrm xmlns:a="http://schemas.openxmlformats.org/drawingml/2006/main">
          <a:off x="2934678" y="2674425"/>
          <a:ext cx="70338" cy="63305"/>
        </a:xfrm>
        <a:prstGeom xmlns:a="http://schemas.openxmlformats.org/drawingml/2006/main" prst="ellipse">
          <a:avLst/>
        </a:prstGeom>
        <a:solidFill xmlns:a="http://schemas.openxmlformats.org/drawingml/2006/main">
          <a:schemeClr val="tx1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de-DE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F7EF861B-BBF0-4D59-9093-A8E3B30D4B6B}"/>
              </a:ext>
            </a:extLst>
          </p:cNvPr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ABEC9CE-6AE7-4696-9829-3C945952A1FC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DEC7B4-4DAE-423E-8193-EAAB49E8E552}" type="datetimeFigureOut">
              <a:rPr lang="de-DE" smtClean="0"/>
              <a:t>17.04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E6CA98B-A1C9-4A29-8A36-41DC157DDB1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0C4431-F070-4213-AE50-6F3887D3C1C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7C8C48-3485-4705-B9B5-B9F7A731D27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87622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64B45A79-CEB3-4CDE-8030-057562C700C5}" type="datetimeFigureOut">
              <a:rPr lang="de-DE" smtClean="0"/>
              <a:pPr/>
              <a:t>17.04.202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358BA752-83CE-4053-9D51-4042F3DEEE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182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spcAft>
        <a:spcPts val="3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spcAft>
        <a:spcPts val="3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spcAft>
        <a:spcPts val="3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spcAft>
        <a:spcPts val="3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914400" rtl="0" eaLnBrk="1" latinLnBrk="0" hangingPunct="1">
      <a:spcAft>
        <a:spcPts val="3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8BA752-83CE-4053-9D51-4042F3DEEECB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26059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8BA752-83CE-4053-9D51-4042F3DEEEC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61685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8BA752-83CE-4053-9D51-4042F3DEEECB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20922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8BA752-83CE-4053-9D51-4042F3DEEECB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18623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8BA752-83CE-4053-9D51-4042F3DEEECB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31031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8BA752-83CE-4053-9D51-4042F3DEEECB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81548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8BA752-83CE-4053-9D51-4042F3DEEECB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28909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8BA752-83CE-4053-9D51-4042F3DEEECB}" type="slidenum">
              <a:rPr lang="de-DE" smtClean="0"/>
              <a:pPr/>
              <a:t>1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61786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8BA752-83CE-4053-9D51-4042F3DEEECB}" type="slidenum">
              <a:rPr lang="de-DE" smtClean="0"/>
              <a:pPr/>
              <a:t>1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5148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BAD996-C5E8-4FA2-BF2B-3C5C7158B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9987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5639FB5-612E-4C65-B977-BF5AD9731AC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23889" y="836614"/>
            <a:ext cx="7187067" cy="1661993"/>
          </a:xfrm>
        </p:spPr>
        <p:txBody>
          <a:bodyPr vert="horz" anchor="b">
            <a:noAutofit/>
          </a:bodyPr>
          <a:lstStyle>
            <a:lvl1pPr algn="l" rtl="0">
              <a:defRPr sz="54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DCD785-4613-4BA9-918A-655171771830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623888" y="2714170"/>
            <a:ext cx="7187067" cy="307777"/>
          </a:xfrm>
        </p:spPr>
        <p:txBody>
          <a:bodyPr>
            <a:noAutofit/>
          </a:bodyPr>
          <a:lstStyle>
            <a:lvl1pPr marL="0" indent="0" algn="l" rtl="0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49FAA9FE-FE22-47BF-BF66-2AFBC90D5FF9}"/>
              </a:ext>
            </a:extLst>
          </p:cNvPr>
          <p:cNvSpPr/>
          <p:nvPr userDrawn="1"/>
        </p:nvSpPr>
        <p:spPr bwMode="gray">
          <a:xfrm>
            <a:off x="7481266" y="0"/>
            <a:ext cx="4710734" cy="6858000"/>
          </a:xfrm>
          <a:custGeom>
            <a:avLst/>
            <a:gdLst>
              <a:gd name="connsiteX0" fmla="*/ 3763191 w 4710734"/>
              <a:gd name="connsiteY0" fmla="*/ 0 h 6858000"/>
              <a:gd name="connsiteX1" fmla="*/ 4710734 w 4710734"/>
              <a:gd name="connsiteY1" fmla="*/ 0 h 6858000"/>
              <a:gd name="connsiteX2" fmla="*/ 4710734 w 4710734"/>
              <a:gd name="connsiteY2" fmla="*/ 6858000 h 6858000"/>
              <a:gd name="connsiteX3" fmla="*/ 0 w 4710734"/>
              <a:gd name="connsiteY3" fmla="*/ 6858000 h 6858000"/>
              <a:gd name="connsiteX4" fmla="*/ 3068606 w 4710734"/>
              <a:gd name="connsiteY4" fmla="*/ 3789407 h 6858000"/>
              <a:gd name="connsiteX5" fmla="*/ 4093878 w 4710734"/>
              <a:gd name="connsiteY5" fmla="*/ 1411816 h 6858000"/>
              <a:gd name="connsiteX6" fmla="*/ 3839629 w 4710734"/>
              <a:gd name="connsiteY6" fmla="*/ 1582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10734" h="6858000">
                <a:moveTo>
                  <a:pt x="3763191" y="0"/>
                </a:moveTo>
                <a:lnTo>
                  <a:pt x="4710734" y="0"/>
                </a:lnTo>
                <a:lnTo>
                  <a:pt x="4710734" y="6858000"/>
                </a:lnTo>
                <a:lnTo>
                  <a:pt x="0" y="6858000"/>
                </a:lnTo>
                <a:lnTo>
                  <a:pt x="3068606" y="3789407"/>
                </a:lnTo>
                <a:cubicBezTo>
                  <a:pt x="3713829" y="3188382"/>
                  <a:pt x="4093878" y="2322198"/>
                  <a:pt x="4093878" y="1411816"/>
                </a:cubicBezTo>
                <a:cubicBezTo>
                  <a:pt x="4093878" y="967675"/>
                  <a:pt x="4003282" y="543973"/>
                  <a:pt x="3839629" y="1582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6D8433F-5904-44F1-A6C4-5D3B2855CD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9507922" y="5969000"/>
            <a:ext cx="2060192" cy="619125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FEC9E79-0FE1-4087-AECD-23E103FD27E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23888" y="6258639"/>
            <a:ext cx="2750004" cy="123111"/>
          </a:xfrm>
          <a:prstGeom prst="rect">
            <a:avLst/>
          </a:prstGeom>
          <a:noFill/>
        </p:spPr>
        <p:txBody>
          <a:bodyPr wrap="square" lIns="0" tIns="0" rIns="0" bIns="0" anchor="b">
            <a:noAutofit/>
          </a:bodyPr>
          <a:lstStyle/>
          <a:p>
            <a:pPr rtl="0">
              <a:buClr>
                <a:schemeClr val="tx1"/>
              </a:buClr>
              <a:buSzPct val="100000"/>
            </a:pPr>
            <a:r>
              <a:rPr lang="de-DE" sz="800" dirty="0">
                <a:solidFill>
                  <a:schemeClr val="tx2"/>
                </a:solidFill>
                <a:latin typeface="Hellix" pitchFamily="50" charset="0"/>
                <a:cs typeface="Hellix" pitchFamily="50" charset="0"/>
                <a:sym typeface="+mn-lt"/>
              </a:rPr>
              <a:t>skbs.de</a:t>
            </a:r>
          </a:p>
        </p:txBody>
      </p:sp>
    </p:spTree>
    <p:extLst>
      <p:ext uri="{BB962C8B-B14F-4D97-AF65-F5344CB8AC3E}">
        <p14:creationId xmlns:p14="http://schemas.microsoft.com/office/powerpoint/2010/main" val="42899716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686296-EBBE-4882-B6F0-096360A6B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1241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3AE5644-255A-4814-AF43-89833E65C14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5842A23-A673-4696-A4ED-EA5415DC498E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4AF96E1-8FB3-4181-AF54-147B7151BAC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D15E95C-9750-46FB-AD7D-6E1F74E0D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AA6352F1-955C-4B7B-BF8F-47E84E0B0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BA60A30-CF8F-4947-992A-6F0F434EB4F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9841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686296-EBBE-4882-B6F0-096360A6B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12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8686296-EBBE-4882-B6F0-096360A6B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3AE5644-255A-4814-AF43-89833E65C14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4AF96E1-8FB3-4181-AF54-147B7151BAC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D15E95C-9750-46FB-AD7D-6E1F74E0D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AA6352F1-955C-4B7B-BF8F-47E84E0B0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BA60A30-CF8F-4947-992A-6F0F434EB4F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24587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686296-EBBE-4882-B6F0-096360A6B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12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8686296-EBBE-4882-B6F0-096360A6B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3AE5644-255A-4814-AF43-89833E65C14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D658401-BBC3-47AD-B82E-CF7FDA3BB4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060575"/>
            <a:ext cx="456058" cy="456058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2C1D294-3467-4272-B505-30EDC54D759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7788" y="2170336"/>
            <a:ext cx="4640262" cy="2365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ACD0C118-4A6D-447E-96EE-08B8042EB5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2732633"/>
            <a:ext cx="456058" cy="456058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3F0EF6DC-11E7-43BB-B1DC-8ED82A1B99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47788" y="2861378"/>
            <a:ext cx="4640262" cy="215444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B4365DD2-EC7F-47A0-A3B0-882DDDE5E5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888" y="3404692"/>
            <a:ext cx="456058" cy="456058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2F44D787-7FCD-49C3-9830-3EB7C3BEE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7788" y="3531327"/>
            <a:ext cx="4640262" cy="215444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3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807C3ED4-AA8E-4D22-AED5-E2ADA4C182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4076750"/>
            <a:ext cx="456058" cy="456058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EA4D2FF4-A9D9-42DC-B46C-FA2D5836BE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7788" y="4201276"/>
            <a:ext cx="4640262" cy="215444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4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609FEE2E-B647-4429-ADD7-2D2E94AFF6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4748809"/>
            <a:ext cx="456058" cy="456058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D0468E7D-561C-4FEE-91A7-5391432143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7788" y="4871225"/>
            <a:ext cx="4640262" cy="215444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5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72BC1C2F-EBB0-4068-9019-BC3710A846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3888" y="5420867"/>
            <a:ext cx="456058" cy="456058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F481394-B6CA-43D1-BC7B-227AB778FB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47788" y="5541174"/>
            <a:ext cx="4640262" cy="215444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6</a:t>
            </a:r>
          </a:p>
        </p:txBody>
      </p:sp>
      <p:sp>
        <p:nvSpPr>
          <p:cNvPr id="37" name="Datumsplatzhalter 36">
            <a:extLst>
              <a:ext uri="{FF2B5EF4-FFF2-40B4-BE49-F238E27FC236}">
                <a16:creationId xmlns:a16="http://schemas.microsoft.com/office/drawing/2014/main" id="{A6DF7BA0-307E-4F78-8E62-35AF2A73A18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38" name="Fußzeilenplatzhalter 37">
            <a:extLst>
              <a:ext uri="{FF2B5EF4-FFF2-40B4-BE49-F238E27FC236}">
                <a16:creationId xmlns:a16="http://schemas.microsoft.com/office/drawing/2014/main" id="{1661B0E6-4C38-4370-BDA9-358E37F7D5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39" name="Foliennummernplatzhalter 38">
            <a:extLst>
              <a:ext uri="{FF2B5EF4-FFF2-40B4-BE49-F238E27FC236}">
                <a16:creationId xmlns:a16="http://schemas.microsoft.com/office/drawing/2014/main" id="{8FEFB77D-44DA-4D46-B25F-14BF85F5A55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98118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09EBD48-8554-405C-9AC8-0CD0FDD486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4732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21F359A-7C9F-4DFD-96DA-6FC6B99663D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3197C5-0FBF-42D6-ADE1-64B36674D59B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623888" y="2060575"/>
            <a:ext cx="5364162" cy="38163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A4A9BB9-B074-43DE-8854-8E83421F1708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203950" y="2060575"/>
            <a:ext cx="5364162" cy="38163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320B883F-C4E9-43BE-A07D-F53F1652632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94A14CD-BDB2-495E-84FD-A681D866F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288CC9A-8F79-420A-9883-2A2A37529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BA60A30-CF8F-4947-992A-6F0F434EB4F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32963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09EBD48-8554-405C-9AC8-0CD0FDD486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538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09EBD48-8554-405C-9AC8-0CD0FDD486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21F359A-7C9F-4DFD-96DA-6FC6B99663D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3197C5-0FBF-42D6-ADE1-64B36674D59B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623888" y="2060575"/>
            <a:ext cx="3504075" cy="38163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A4A9BB9-B074-43DE-8854-8E83421F1708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4343963" y="2060575"/>
            <a:ext cx="3504075" cy="38163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74B3074D-14D6-4A58-8E42-49576DD5524D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8064039" y="2060574"/>
            <a:ext cx="3504075" cy="381635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6F1693DE-25DC-4EB3-85D3-26C6976D5D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6187D32C-013C-4804-A701-5570FB9498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E24BD0A2-582F-4EED-98DE-F8D8B7EC73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5BA60A30-CF8F-4947-992A-6F0F434EB4F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52382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09EBD48-8554-405C-9AC8-0CD0FDD486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081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09EBD48-8554-405C-9AC8-0CD0FDD486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21F359A-7C9F-4DFD-96DA-6FC6B99663D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3197C5-0FBF-42D6-ADE1-64B36674D59B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623888" y="2060575"/>
            <a:ext cx="2574056" cy="38163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A4A9BB9-B074-43DE-8854-8E83421F1708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3413944" y="2060575"/>
            <a:ext cx="2574056" cy="38163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26013BE-54C5-41BD-8C2D-14039473D1BD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6204000" y="2060574"/>
            <a:ext cx="2574056" cy="38163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74B3074D-14D6-4A58-8E42-49576DD5524D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8994057" y="2060574"/>
            <a:ext cx="2574056" cy="381635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6F1693DE-25DC-4EB3-85D3-26C6976D5D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6187D32C-013C-4804-A701-5570FB9498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E24BD0A2-582F-4EED-98DE-F8D8B7EC73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5BA60A30-CF8F-4947-992A-6F0F434EB4F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08048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686296-EBBE-4882-B6F0-096360A6B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791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8686296-EBBE-4882-B6F0-096360A6B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3AE5644-255A-4814-AF43-89833E65C14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843409"/>
            <a:ext cx="7199312" cy="86177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5842A23-A673-4696-A4ED-EA5415DC498E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623888" y="2060575"/>
            <a:ext cx="7199312" cy="38163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174AC68-5E58-403B-83AD-6F68FD39BF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064037" y="-16406"/>
            <a:ext cx="4127963" cy="5893332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 dirty="0"/>
              <a:t>Bild durch Klicken hinzufüge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D993148C-E260-4D9A-8510-A9C60CCD689E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E1223607-097D-4536-9F8D-8E9ADF1D3C3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6517EADB-1A84-4534-857D-98D998F157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BA60A30-CF8F-4947-992A-6F0F434EB4F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29894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argi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686296-EBBE-4882-B6F0-096360A6B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616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8686296-EBBE-4882-B6F0-096360A6B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3AE5644-255A-4814-AF43-89833E65C14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843409"/>
            <a:ext cx="7199312" cy="861774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5842A23-A673-4696-A4ED-EA5415DC498E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623888" y="2060575"/>
            <a:ext cx="7199312" cy="381635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D993148C-E260-4D9A-8510-A9C60CCD689E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E1223607-097D-4536-9F8D-8E9ADF1D3C3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6517EADB-1A84-4534-857D-98D998F157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>
            <a:noAutofit/>
          </a:bodyPr>
          <a:lstStyle>
            <a:lvl1pPr rtl="0">
              <a:defRPr/>
            </a:lvl1pPr>
          </a:lstStyle>
          <a:p>
            <a:fld id="{5BA60A30-CF8F-4947-992A-6F0F434EB4F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37FD7BE-EB2B-45A3-A225-C1B442ED6AEB}"/>
              </a:ext>
            </a:extLst>
          </p:cNvPr>
          <p:cNvSpPr>
            <a:spLocks/>
          </p:cNvSpPr>
          <p:nvPr userDrawn="1"/>
        </p:nvSpPr>
        <p:spPr bwMode="gray">
          <a:xfrm>
            <a:off x="8064037" y="-16406"/>
            <a:ext cx="4127963" cy="5893332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CF661D7-CEB6-4D64-A97C-C9F38E9515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8483599" y="2060575"/>
            <a:ext cx="3084513" cy="2041525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590489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argin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686296-EBBE-4882-B6F0-096360A6B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154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8686296-EBBE-4882-B6F0-096360A6B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3AE5644-255A-4814-AF43-89833E65C14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843409"/>
            <a:ext cx="7199312" cy="86177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5842A23-A673-4696-A4ED-EA5415DC498E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623888" y="2060575"/>
            <a:ext cx="7199312" cy="38163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D993148C-E260-4D9A-8510-A9C60CCD689E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E1223607-097D-4536-9F8D-8E9ADF1D3C3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6517EADB-1A84-4534-857D-98D998F157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BA60A30-CF8F-4947-992A-6F0F434EB4F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37FD7BE-EB2B-45A3-A225-C1B442ED6AEB}"/>
              </a:ext>
            </a:extLst>
          </p:cNvPr>
          <p:cNvSpPr>
            <a:spLocks/>
          </p:cNvSpPr>
          <p:nvPr userDrawn="1"/>
        </p:nvSpPr>
        <p:spPr bwMode="gray">
          <a:xfrm>
            <a:off x="8064037" y="-16406"/>
            <a:ext cx="4127963" cy="5893332"/>
          </a:xfrm>
          <a:prstGeom prst="rect">
            <a:avLst/>
          </a:prstGeom>
          <a:solidFill>
            <a:srgbClr val="009B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 rtl="0"/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CF661D7-CEB6-4D64-A97C-C9F38E9515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8483599" y="2060575"/>
            <a:ext cx="3084513" cy="2041525"/>
          </a:xfr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621155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argin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686296-EBBE-4882-B6F0-096360A6B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0860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8686296-EBBE-4882-B6F0-096360A6B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3AE5644-255A-4814-AF43-89833E65C14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843409"/>
            <a:ext cx="7199312" cy="86177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5842A23-A673-4696-A4ED-EA5415DC498E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623888" y="2060575"/>
            <a:ext cx="7199312" cy="38163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D993148C-E260-4D9A-8510-A9C60CCD689E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E1223607-097D-4536-9F8D-8E9ADF1D3C3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6517EADB-1A84-4534-857D-98D998F157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BA60A30-CF8F-4947-992A-6F0F434EB4F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37FD7BE-EB2B-45A3-A225-C1B442ED6AEB}"/>
              </a:ext>
            </a:extLst>
          </p:cNvPr>
          <p:cNvSpPr>
            <a:spLocks/>
          </p:cNvSpPr>
          <p:nvPr userDrawn="1"/>
        </p:nvSpPr>
        <p:spPr bwMode="gray">
          <a:xfrm>
            <a:off x="8064037" y="-16406"/>
            <a:ext cx="4127963" cy="5893332"/>
          </a:xfrm>
          <a:prstGeom prst="rect">
            <a:avLst/>
          </a:prstGeom>
          <a:solidFill>
            <a:srgbClr val="EFE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 rtl="0"/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CF661D7-CEB6-4D64-A97C-C9F38E9515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8483599" y="2060575"/>
            <a:ext cx="3084513" cy="2041525"/>
          </a:xfrm>
        </p:spPr>
        <p:txBody>
          <a:bodyPr/>
          <a:lstStyle>
            <a:lvl1pPr marL="0" indent="0" rtl="0">
              <a:buNone/>
              <a:defRPr>
                <a:solidFill>
                  <a:schemeClr val="tx2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897414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BAD996-C5E8-4FA2-BF2B-3C5C7158B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9080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BAD996-C5E8-4FA2-BF2B-3C5C7158B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5639FB5-612E-4C65-B977-BF5AD9731AC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23889" y="836614"/>
            <a:ext cx="7187067" cy="1661993"/>
          </a:xfrm>
        </p:spPr>
        <p:txBody>
          <a:bodyPr vert="horz" anchor="b">
            <a:noAutofit/>
          </a:bodyPr>
          <a:lstStyle>
            <a:lvl1pPr algn="l" rtl="0">
              <a:defRPr sz="54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DCD785-4613-4BA9-918A-655171771830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623888" y="2714170"/>
            <a:ext cx="7187067" cy="307777"/>
          </a:xfrm>
        </p:spPr>
        <p:txBody>
          <a:bodyPr>
            <a:noAutofit/>
          </a:bodyPr>
          <a:lstStyle>
            <a:lvl1pPr marL="0" indent="0" algn="l" rtl="0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49FAA9FE-FE22-47BF-BF66-2AFBC90D5FF9}"/>
              </a:ext>
            </a:extLst>
          </p:cNvPr>
          <p:cNvSpPr/>
          <p:nvPr userDrawn="1"/>
        </p:nvSpPr>
        <p:spPr bwMode="gray">
          <a:xfrm>
            <a:off x="7481266" y="0"/>
            <a:ext cx="4710734" cy="6858000"/>
          </a:xfrm>
          <a:custGeom>
            <a:avLst/>
            <a:gdLst>
              <a:gd name="connsiteX0" fmla="*/ 3763191 w 4710734"/>
              <a:gd name="connsiteY0" fmla="*/ 0 h 6858000"/>
              <a:gd name="connsiteX1" fmla="*/ 4710734 w 4710734"/>
              <a:gd name="connsiteY1" fmla="*/ 0 h 6858000"/>
              <a:gd name="connsiteX2" fmla="*/ 4710734 w 4710734"/>
              <a:gd name="connsiteY2" fmla="*/ 6858000 h 6858000"/>
              <a:gd name="connsiteX3" fmla="*/ 0 w 4710734"/>
              <a:gd name="connsiteY3" fmla="*/ 6858000 h 6858000"/>
              <a:gd name="connsiteX4" fmla="*/ 3068606 w 4710734"/>
              <a:gd name="connsiteY4" fmla="*/ 3789407 h 6858000"/>
              <a:gd name="connsiteX5" fmla="*/ 4093878 w 4710734"/>
              <a:gd name="connsiteY5" fmla="*/ 1411816 h 6858000"/>
              <a:gd name="connsiteX6" fmla="*/ 3839629 w 4710734"/>
              <a:gd name="connsiteY6" fmla="*/ 1582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10734" h="6858000">
                <a:moveTo>
                  <a:pt x="3763191" y="0"/>
                </a:moveTo>
                <a:lnTo>
                  <a:pt x="4710734" y="0"/>
                </a:lnTo>
                <a:lnTo>
                  <a:pt x="4710734" y="6858000"/>
                </a:lnTo>
                <a:lnTo>
                  <a:pt x="0" y="6858000"/>
                </a:lnTo>
                <a:lnTo>
                  <a:pt x="3068606" y="3789407"/>
                </a:lnTo>
                <a:cubicBezTo>
                  <a:pt x="3713829" y="3188382"/>
                  <a:pt x="4093878" y="2322198"/>
                  <a:pt x="4093878" y="1411816"/>
                </a:cubicBezTo>
                <a:cubicBezTo>
                  <a:pt x="4093878" y="967675"/>
                  <a:pt x="4003282" y="543973"/>
                  <a:pt x="3839629" y="15825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6D8433F-5904-44F1-A6C4-5D3B2855CD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9507922" y="5969000"/>
            <a:ext cx="2060192" cy="619125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FEC9E79-0FE1-4087-AECD-23E103FD27E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23888" y="6258639"/>
            <a:ext cx="2750004" cy="123111"/>
          </a:xfrm>
          <a:prstGeom prst="rect">
            <a:avLst/>
          </a:prstGeom>
          <a:noFill/>
        </p:spPr>
        <p:txBody>
          <a:bodyPr wrap="square" lIns="0" tIns="0" rIns="0" bIns="0" anchor="b">
            <a:noAutofit/>
          </a:bodyPr>
          <a:lstStyle/>
          <a:p>
            <a:pPr rtl="0">
              <a:buClr>
                <a:schemeClr val="tx1"/>
              </a:buClr>
              <a:buSzPct val="100000"/>
            </a:pPr>
            <a:r>
              <a:rPr lang="de-DE" sz="800" dirty="0">
                <a:solidFill>
                  <a:schemeClr val="tx2"/>
                </a:solidFill>
                <a:latin typeface="Hellix" pitchFamily="50" charset="0"/>
                <a:cs typeface="Hellix" pitchFamily="50" charset="0"/>
                <a:sym typeface="+mn-lt"/>
              </a:rPr>
              <a:t>skbs.de</a:t>
            </a:r>
          </a:p>
        </p:txBody>
      </p:sp>
    </p:spTree>
    <p:extLst>
      <p:ext uri="{BB962C8B-B14F-4D97-AF65-F5344CB8AC3E}">
        <p14:creationId xmlns:p14="http://schemas.microsoft.com/office/powerpoint/2010/main" val="11094897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55BF403-E310-4840-A405-1D0DFD2D3A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335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92BD21A-9D00-4946-B93E-71A1C0D7FC3F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3A7CDFA-B5B4-4C99-83D8-E54BED5A46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CE8F521-38D1-46F8-8A9B-59278179B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BA60A30-CF8F-4947-992A-6F0F434EB4F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94302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3">
    <p:bg>
      <p:bgPr>
        <a:solidFill>
          <a:srgbClr val="C8E4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BAD996-C5E8-4FA2-BF2B-3C5C7158B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698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BAD996-C5E8-4FA2-BF2B-3C5C7158B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5639FB5-612E-4C65-B977-BF5AD9731AC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23889" y="836614"/>
            <a:ext cx="7187067" cy="1661993"/>
          </a:xfrm>
        </p:spPr>
        <p:txBody>
          <a:bodyPr vert="horz" anchor="b">
            <a:noAutofit/>
          </a:bodyPr>
          <a:lstStyle>
            <a:lvl1pPr algn="l" rtl="0">
              <a:defRPr sz="54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DCD785-4613-4BA9-918A-655171771830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623888" y="2714170"/>
            <a:ext cx="7187067" cy="307777"/>
          </a:xfrm>
        </p:spPr>
        <p:txBody>
          <a:bodyPr>
            <a:noAutofit/>
          </a:bodyPr>
          <a:lstStyle>
            <a:lvl1pPr marL="0" indent="0" algn="l" rtl="0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49FAA9FE-FE22-47BF-BF66-2AFBC90D5FF9}"/>
              </a:ext>
            </a:extLst>
          </p:cNvPr>
          <p:cNvSpPr/>
          <p:nvPr userDrawn="1"/>
        </p:nvSpPr>
        <p:spPr bwMode="gray">
          <a:xfrm>
            <a:off x="7481266" y="0"/>
            <a:ext cx="4710734" cy="6858000"/>
          </a:xfrm>
          <a:custGeom>
            <a:avLst/>
            <a:gdLst>
              <a:gd name="connsiteX0" fmla="*/ 3763191 w 4710734"/>
              <a:gd name="connsiteY0" fmla="*/ 0 h 6858000"/>
              <a:gd name="connsiteX1" fmla="*/ 4710734 w 4710734"/>
              <a:gd name="connsiteY1" fmla="*/ 0 h 6858000"/>
              <a:gd name="connsiteX2" fmla="*/ 4710734 w 4710734"/>
              <a:gd name="connsiteY2" fmla="*/ 6858000 h 6858000"/>
              <a:gd name="connsiteX3" fmla="*/ 0 w 4710734"/>
              <a:gd name="connsiteY3" fmla="*/ 6858000 h 6858000"/>
              <a:gd name="connsiteX4" fmla="*/ 3068606 w 4710734"/>
              <a:gd name="connsiteY4" fmla="*/ 3789407 h 6858000"/>
              <a:gd name="connsiteX5" fmla="*/ 4093878 w 4710734"/>
              <a:gd name="connsiteY5" fmla="*/ 1411816 h 6858000"/>
              <a:gd name="connsiteX6" fmla="*/ 3839629 w 4710734"/>
              <a:gd name="connsiteY6" fmla="*/ 1582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10734" h="6858000">
                <a:moveTo>
                  <a:pt x="3763191" y="0"/>
                </a:moveTo>
                <a:lnTo>
                  <a:pt x="4710734" y="0"/>
                </a:lnTo>
                <a:lnTo>
                  <a:pt x="4710734" y="6858000"/>
                </a:lnTo>
                <a:lnTo>
                  <a:pt x="0" y="6858000"/>
                </a:lnTo>
                <a:lnTo>
                  <a:pt x="3068606" y="3789407"/>
                </a:lnTo>
                <a:cubicBezTo>
                  <a:pt x="3713829" y="3188382"/>
                  <a:pt x="4093878" y="2322198"/>
                  <a:pt x="4093878" y="1411816"/>
                </a:cubicBezTo>
                <a:cubicBezTo>
                  <a:pt x="4093878" y="967675"/>
                  <a:pt x="4003282" y="543973"/>
                  <a:pt x="3839629" y="15825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6D8433F-5904-44F1-A6C4-5D3B2855CD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9507922" y="5969000"/>
            <a:ext cx="2060192" cy="619125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FEC9E79-0FE1-4087-AECD-23E103FD27E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23888" y="6258639"/>
            <a:ext cx="2750004" cy="123111"/>
          </a:xfrm>
          <a:prstGeom prst="rect">
            <a:avLst/>
          </a:prstGeom>
          <a:noFill/>
        </p:spPr>
        <p:txBody>
          <a:bodyPr wrap="square" lIns="0" tIns="0" rIns="0" bIns="0" anchor="b">
            <a:noAutofit/>
          </a:bodyPr>
          <a:lstStyle/>
          <a:p>
            <a:pPr rtl="0">
              <a:buClr>
                <a:schemeClr val="tx1"/>
              </a:buClr>
              <a:buSzPct val="100000"/>
            </a:pPr>
            <a:r>
              <a:rPr lang="de-DE" sz="800" dirty="0">
                <a:solidFill>
                  <a:schemeClr val="tx2"/>
                </a:solidFill>
                <a:latin typeface="Hellix" pitchFamily="50" charset="0"/>
                <a:cs typeface="Hellix" pitchFamily="50" charset="0"/>
                <a:sym typeface="+mn-lt"/>
              </a:rPr>
              <a:t>skbs.de</a:t>
            </a:r>
          </a:p>
        </p:txBody>
      </p:sp>
    </p:spTree>
    <p:extLst>
      <p:ext uri="{BB962C8B-B14F-4D97-AF65-F5344CB8AC3E}">
        <p14:creationId xmlns:p14="http://schemas.microsoft.com/office/powerpoint/2010/main" val="2196903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BAD996-C5E8-4FA2-BF2B-3C5C7158B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6350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BAD996-C5E8-4FA2-BF2B-3C5C7158B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18916A8F-37E8-46A2-91BA-19731566462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894501" y="-1"/>
            <a:ext cx="10297500" cy="6858001"/>
          </a:xfrm>
          <a:custGeom>
            <a:avLst/>
            <a:gdLst>
              <a:gd name="connsiteX0" fmla="*/ 9222612 w 10297500"/>
              <a:gd name="connsiteY0" fmla="*/ 6130721 h 6858001"/>
              <a:gd name="connsiteX1" fmla="*/ 9316549 w 10297500"/>
              <a:gd name="connsiteY1" fmla="*/ 6224657 h 6858001"/>
              <a:gd name="connsiteX2" fmla="*/ 9222612 w 10297500"/>
              <a:gd name="connsiteY2" fmla="*/ 6319661 h 6858001"/>
              <a:gd name="connsiteX3" fmla="*/ 9137749 w 10297500"/>
              <a:gd name="connsiteY3" fmla="*/ 6273226 h 6858001"/>
              <a:gd name="connsiteX4" fmla="*/ 9137749 w 10297500"/>
              <a:gd name="connsiteY4" fmla="*/ 6177689 h 6858001"/>
              <a:gd name="connsiteX5" fmla="*/ 9222612 w 10297500"/>
              <a:gd name="connsiteY5" fmla="*/ 6130721 h 6858001"/>
              <a:gd name="connsiteX6" fmla="*/ 7812502 w 10297500"/>
              <a:gd name="connsiteY6" fmla="*/ 6101366 h 6858001"/>
              <a:gd name="connsiteX7" fmla="*/ 7894696 w 10297500"/>
              <a:gd name="connsiteY7" fmla="*/ 6136058 h 6858001"/>
              <a:gd name="connsiteX8" fmla="*/ 7916579 w 10297500"/>
              <a:gd name="connsiteY8" fmla="*/ 6155272 h 6858001"/>
              <a:gd name="connsiteX9" fmla="*/ 7938462 w 10297500"/>
              <a:gd name="connsiteY9" fmla="*/ 6136058 h 6858001"/>
              <a:gd name="connsiteX10" fmla="*/ 8020656 w 10297500"/>
              <a:gd name="connsiteY10" fmla="*/ 6101366 h 6858001"/>
              <a:gd name="connsiteX11" fmla="*/ 8110856 w 10297500"/>
              <a:gd name="connsiteY11" fmla="*/ 6136058 h 6858001"/>
              <a:gd name="connsiteX12" fmla="*/ 8148751 w 10297500"/>
              <a:gd name="connsiteY12" fmla="*/ 6225191 h 6858001"/>
              <a:gd name="connsiteX13" fmla="*/ 8108187 w 10297500"/>
              <a:gd name="connsiteY13" fmla="*/ 6316992 h 6858001"/>
              <a:gd name="connsiteX14" fmla="*/ 7951271 w 10297500"/>
              <a:gd name="connsiteY14" fmla="*/ 6473908 h 6858001"/>
              <a:gd name="connsiteX15" fmla="*/ 7951271 w 10297500"/>
              <a:gd name="connsiteY15" fmla="*/ 6267355 h 6858001"/>
              <a:gd name="connsiteX16" fmla="*/ 7893628 w 10297500"/>
              <a:gd name="connsiteY16" fmla="*/ 6315391 h 6858001"/>
              <a:gd name="connsiteX17" fmla="*/ 7823710 w 10297500"/>
              <a:gd name="connsiteY17" fmla="*/ 6348482 h 6858001"/>
              <a:gd name="connsiteX18" fmla="*/ 7726038 w 10297500"/>
              <a:gd name="connsiteY18" fmla="*/ 6318059 h 6858001"/>
              <a:gd name="connsiteX19" fmla="*/ 7684407 w 10297500"/>
              <a:gd name="connsiteY19" fmla="*/ 6225191 h 6858001"/>
              <a:gd name="connsiteX20" fmla="*/ 7722302 w 10297500"/>
              <a:gd name="connsiteY20" fmla="*/ 6136058 h 6858001"/>
              <a:gd name="connsiteX21" fmla="*/ 7812502 w 10297500"/>
              <a:gd name="connsiteY21" fmla="*/ 6101366 h 6858001"/>
              <a:gd name="connsiteX22" fmla="*/ 9547652 w 10297500"/>
              <a:gd name="connsiteY22" fmla="*/ 6062937 h 6858001"/>
              <a:gd name="connsiteX23" fmla="*/ 9426496 w 10297500"/>
              <a:gd name="connsiteY23" fmla="*/ 6161143 h 6858001"/>
              <a:gd name="connsiteX24" fmla="*/ 9599424 w 10297500"/>
              <a:gd name="connsiteY24" fmla="*/ 6293508 h 6858001"/>
              <a:gd name="connsiteX25" fmla="*/ 9547652 w 10297500"/>
              <a:gd name="connsiteY25" fmla="*/ 6327666 h 6858001"/>
              <a:gd name="connsiteX26" fmla="*/ 9442508 w 10297500"/>
              <a:gd name="connsiteY26" fmla="*/ 6288704 h 6858001"/>
              <a:gd name="connsiteX27" fmla="*/ 9414754 w 10297500"/>
              <a:gd name="connsiteY27" fmla="*/ 6342077 h 6858001"/>
              <a:gd name="connsiteX28" fmla="*/ 9550321 w 10297500"/>
              <a:gd name="connsiteY28" fmla="*/ 6387444 h 6858001"/>
              <a:gd name="connsiteX29" fmla="*/ 9672011 w 10297500"/>
              <a:gd name="connsiteY29" fmla="*/ 6290839 h 6858001"/>
              <a:gd name="connsiteX30" fmla="*/ 9497482 w 10297500"/>
              <a:gd name="connsiteY30" fmla="*/ 6155272 h 6858001"/>
              <a:gd name="connsiteX31" fmla="*/ 9540714 w 10297500"/>
              <a:gd name="connsiteY31" fmla="*/ 6122181 h 6858001"/>
              <a:gd name="connsiteX32" fmla="*/ 9636251 w 10297500"/>
              <a:gd name="connsiteY32" fmla="*/ 6155272 h 6858001"/>
              <a:gd name="connsiteX33" fmla="*/ 9664005 w 10297500"/>
              <a:gd name="connsiteY33" fmla="*/ 6100298 h 6858001"/>
              <a:gd name="connsiteX34" fmla="*/ 9547652 w 10297500"/>
              <a:gd name="connsiteY34" fmla="*/ 6062937 h 6858001"/>
              <a:gd name="connsiteX35" fmla="*/ 8558653 w 10297500"/>
              <a:gd name="connsiteY35" fmla="*/ 6062937 h 6858001"/>
              <a:gd name="connsiteX36" fmla="*/ 8437497 w 10297500"/>
              <a:gd name="connsiteY36" fmla="*/ 6161143 h 6858001"/>
              <a:gd name="connsiteX37" fmla="*/ 8610425 w 10297500"/>
              <a:gd name="connsiteY37" fmla="*/ 6293508 h 6858001"/>
              <a:gd name="connsiteX38" fmla="*/ 8558653 w 10297500"/>
              <a:gd name="connsiteY38" fmla="*/ 6327666 h 6858001"/>
              <a:gd name="connsiteX39" fmla="*/ 8453509 w 10297500"/>
              <a:gd name="connsiteY39" fmla="*/ 6288704 h 6858001"/>
              <a:gd name="connsiteX40" fmla="*/ 8425755 w 10297500"/>
              <a:gd name="connsiteY40" fmla="*/ 6342077 h 6858001"/>
              <a:gd name="connsiteX41" fmla="*/ 8561322 w 10297500"/>
              <a:gd name="connsiteY41" fmla="*/ 6387444 h 6858001"/>
              <a:gd name="connsiteX42" fmla="*/ 8683012 w 10297500"/>
              <a:gd name="connsiteY42" fmla="*/ 6290839 h 6858001"/>
              <a:gd name="connsiteX43" fmla="*/ 8508483 w 10297500"/>
              <a:gd name="connsiteY43" fmla="*/ 6155272 h 6858001"/>
              <a:gd name="connsiteX44" fmla="*/ 8551715 w 10297500"/>
              <a:gd name="connsiteY44" fmla="*/ 6122181 h 6858001"/>
              <a:gd name="connsiteX45" fmla="*/ 8647252 w 10297500"/>
              <a:gd name="connsiteY45" fmla="*/ 6155272 h 6858001"/>
              <a:gd name="connsiteX46" fmla="*/ 8675006 w 10297500"/>
              <a:gd name="connsiteY46" fmla="*/ 6100298 h 6858001"/>
              <a:gd name="connsiteX47" fmla="*/ 8558653 w 10297500"/>
              <a:gd name="connsiteY47" fmla="*/ 6062937 h 6858001"/>
              <a:gd name="connsiteX48" fmla="*/ 7809299 w 10297500"/>
              <a:gd name="connsiteY48" fmla="*/ 6029846 h 6858001"/>
              <a:gd name="connsiteX49" fmla="*/ 7730307 w 10297500"/>
              <a:gd name="connsiteY49" fmla="*/ 6046392 h 6858001"/>
              <a:gd name="connsiteX50" fmla="*/ 7666794 w 10297500"/>
              <a:gd name="connsiteY50" fmla="*/ 6091759 h 6858001"/>
              <a:gd name="connsiteX51" fmla="*/ 7615022 w 10297500"/>
              <a:gd name="connsiteY51" fmla="*/ 6238534 h 6858001"/>
              <a:gd name="connsiteX52" fmla="*/ 7769270 w 10297500"/>
              <a:gd name="connsiteY52" fmla="*/ 6415198 h 6858001"/>
              <a:gd name="connsiteX53" fmla="*/ 7881353 w 10297500"/>
              <a:gd name="connsiteY53" fmla="*/ 6405591 h 6858001"/>
              <a:gd name="connsiteX54" fmla="*/ 7881886 w 10297500"/>
              <a:gd name="connsiteY54" fmla="*/ 6405591 h 6858001"/>
              <a:gd name="connsiteX55" fmla="*/ 7881886 w 10297500"/>
              <a:gd name="connsiteY55" fmla="*/ 6544360 h 6858001"/>
              <a:gd name="connsiteX56" fmla="*/ 7907505 w 10297500"/>
              <a:gd name="connsiteY56" fmla="*/ 6582789 h 6858001"/>
              <a:gd name="connsiteX57" fmla="*/ 7952339 w 10297500"/>
              <a:gd name="connsiteY57" fmla="*/ 6573715 h 6858001"/>
              <a:gd name="connsiteX58" fmla="*/ 8157824 w 10297500"/>
              <a:gd name="connsiteY58" fmla="*/ 6368230 h 6858001"/>
              <a:gd name="connsiteX59" fmla="*/ 8219736 w 10297500"/>
              <a:gd name="connsiteY59" fmla="*/ 6224657 h 6858001"/>
              <a:gd name="connsiteX60" fmla="*/ 8024926 w 10297500"/>
              <a:gd name="connsiteY60" fmla="*/ 6029846 h 6858001"/>
              <a:gd name="connsiteX61" fmla="*/ 7917112 w 10297500"/>
              <a:gd name="connsiteY61" fmla="*/ 6062403 h 6858001"/>
              <a:gd name="connsiteX62" fmla="*/ 7809299 w 10297500"/>
              <a:gd name="connsiteY62" fmla="*/ 6029846 h 6858001"/>
              <a:gd name="connsiteX63" fmla="*/ 9067831 w 10297500"/>
              <a:gd name="connsiteY63" fmla="*/ 5969001 h 6858001"/>
              <a:gd name="connsiteX64" fmla="*/ 9067831 w 10297500"/>
              <a:gd name="connsiteY64" fmla="*/ 6380506 h 6858001"/>
              <a:gd name="connsiteX65" fmla="*/ 9138283 w 10297500"/>
              <a:gd name="connsiteY65" fmla="*/ 6380506 h 6858001"/>
              <a:gd name="connsiteX66" fmla="*/ 9138283 w 10297500"/>
              <a:gd name="connsiteY66" fmla="*/ 6338341 h 6858001"/>
              <a:gd name="connsiteX67" fmla="*/ 9237557 w 10297500"/>
              <a:gd name="connsiteY67" fmla="*/ 6386910 h 6858001"/>
              <a:gd name="connsiteX68" fmla="*/ 9387001 w 10297500"/>
              <a:gd name="connsiteY68" fmla="*/ 6224657 h 6858001"/>
              <a:gd name="connsiteX69" fmla="*/ 9237557 w 10297500"/>
              <a:gd name="connsiteY69" fmla="*/ 6062937 h 6858001"/>
              <a:gd name="connsiteX70" fmla="*/ 9138283 w 10297500"/>
              <a:gd name="connsiteY70" fmla="*/ 6111507 h 6858001"/>
              <a:gd name="connsiteX71" fmla="*/ 9138283 w 10297500"/>
              <a:gd name="connsiteY71" fmla="*/ 5969001 h 6858001"/>
              <a:gd name="connsiteX72" fmla="*/ 8732115 w 10297500"/>
              <a:gd name="connsiteY72" fmla="*/ 5969001 h 6858001"/>
              <a:gd name="connsiteX73" fmla="*/ 8732115 w 10297500"/>
              <a:gd name="connsiteY73" fmla="*/ 6380506 h 6858001"/>
              <a:gd name="connsiteX74" fmla="*/ 8802567 w 10297500"/>
              <a:gd name="connsiteY74" fmla="*/ 6380506 h 6858001"/>
              <a:gd name="connsiteX75" fmla="*/ 8802567 w 10297500"/>
              <a:gd name="connsiteY75" fmla="*/ 6233730 h 6858001"/>
              <a:gd name="connsiteX76" fmla="*/ 8934932 w 10297500"/>
              <a:gd name="connsiteY76" fmla="*/ 6380506 h 6858001"/>
              <a:gd name="connsiteX77" fmla="*/ 8934932 w 10297500"/>
              <a:gd name="connsiteY77" fmla="*/ 6379972 h 6858001"/>
              <a:gd name="connsiteX78" fmla="*/ 9026733 w 10297500"/>
              <a:gd name="connsiteY78" fmla="*/ 6379972 h 6858001"/>
              <a:gd name="connsiteX79" fmla="*/ 8874087 w 10297500"/>
              <a:gd name="connsiteY79" fmla="*/ 6218252 h 6858001"/>
              <a:gd name="connsiteX80" fmla="*/ 9017126 w 10297500"/>
              <a:gd name="connsiteY80" fmla="*/ 6068808 h 6858001"/>
              <a:gd name="connsiteX81" fmla="*/ 8928527 w 10297500"/>
              <a:gd name="connsiteY81" fmla="*/ 6068808 h 6858001"/>
              <a:gd name="connsiteX82" fmla="*/ 8802567 w 10297500"/>
              <a:gd name="connsiteY82" fmla="*/ 6203308 h 6858001"/>
              <a:gd name="connsiteX83" fmla="*/ 8802567 w 10297500"/>
              <a:gd name="connsiteY83" fmla="*/ 5969001 h 6858001"/>
              <a:gd name="connsiteX84" fmla="*/ 4423851 w 10297500"/>
              <a:gd name="connsiteY84" fmla="*/ 0 h 6858001"/>
              <a:gd name="connsiteX85" fmla="*/ 10297500 w 10297500"/>
              <a:gd name="connsiteY85" fmla="*/ 0 h 6858001"/>
              <a:gd name="connsiteX86" fmla="*/ 10297500 w 10297500"/>
              <a:gd name="connsiteY86" fmla="*/ 6858001 h 6858001"/>
              <a:gd name="connsiteX87" fmla="*/ 0 w 10297500"/>
              <a:gd name="connsiteY87" fmla="*/ 6858001 h 6858001"/>
              <a:gd name="connsiteX88" fmla="*/ 3068606 w 10297500"/>
              <a:gd name="connsiteY88" fmla="*/ 3789408 h 6858001"/>
              <a:gd name="connsiteX89" fmla="*/ 4093877 w 10297500"/>
              <a:gd name="connsiteY89" fmla="*/ 1411818 h 6858001"/>
              <a:gd name="connsiteX90" fmla="*/ 3839628 w 10297500"/>
              <a:gd name="connsiteY90" fmla="*/ 158252 h 6858001"/>
              <a:gd name="connsiteX91" fmla="*/ 3763191 w 10297500"/>
              <a:gd name="connsiteY91" fmla="*/ 2 h 6858001"/>
              <a:gd name="connsiteX92" fmla="*/ 4423851 w 10297500"/>
              <a:gd name="connsiteY92" fmla="*/ 2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10297500" h="6858001">
                <a:moveTo>
                  <a:pt x="9222612" y="6130721"/>
                </a:moveTo>
                <a:cubicBezTo>
                  <a:pt x="9275985" y="6130721"/>
                  <a:pt x="9316549" y="6170750"/>
                  <a:pt x="9316549" y="6224657"/>
                </a:cubicBezTo>
                <a:cubicBezTo>
                  <a:pt x="9316549" y="6278564"/>
                  <a:pt x="9275985" y="6319127"/>
                  <a:pt x="9222612" y="6319661"/>
                </a:cubicBezTo>
                <a:cubicBezTo>
                  <a:pt x="9187386" y="6319661"/>
                  <a:pt x="9153228" y="6299913"/>
                  <a:pt x="9137749" y="6273226"/>
                </a:cubicBezTo>
                <a:lnTo>
                  <a:pt x="9137749" y="6177689"/>
                </a:lnTo>
                <a:cubicBezTo>
                  <a:pt x="9153228" y="6150469"/>
                  <a:pt x="9186852" y="6130721"/>
                  <a:pt x="9222612" y="6130721"/>
                </a:cubicBezTo>
                <a:close/>
                <a:moveTo>
                  <a:pt x="7812502" y="6101366"/>
                </a:moveTo>
                <a:cubicBezTo>
                  <a:pt x="7845059" y="6102433"/>
                  <a:pt x="7876015" y="6120046"/>
                  <a:pt x="7894696" y="6136058"/>
                </a:cubicBezTo>
                <a:cubicBezTo>
                  <a:pt x="7911241" y="6151002"/>
                  <a:pt x="7915511" y="6154738"/>
                  <a:pt x="7916579" y="6155272"/>
                </a:cubicBezTo>
                <a:cubicBezTo>
                  <a:pt x="7917646" y="6154205"/>
                  <a:pt x="7921916" y="6150469"/>
                  <a:pt x="7938462" y="6136058"/>
                </a:cubicBezTo>
                <a:cubicBezTo>
                  <a:pt x="7964081" y="6113641"/>
                  <a:pt x="7991301" y="6102433"/>
                  <a:pt x="8020656" y="6101366"/>
                </a:cubicBezTo>
                <a:cubicBezTo>
                  <a:pt x="8054814" y="6100298"/>
                  <a:pt x="8086838" y="6112574"/>
                  <a:pt x="8110856" y="6136058"/>
                </a:cubicBezTo>
                <a:cubicBezTo>
                  <a:pt x="8135407" y="6159542"/>
                  <a:pt x="8148751" y="6191566"/>
                  <a:pt x="8148751" y="6225191"/>
                </a:cubicBezTo>
                <a:cubicBezTo>
                  <a:pt x="8149284" y="6259883"/>
                  <a:pt x="8135941" y="6289238"/>
                  <a:pt x="8108187" y="6316992"/>
                </a:cubicBezTo>
                <a:cubicBezTo>
                  <a:pt x="8080433" y="6344746"/>
                  <a:pt x="7951271" y="6473908"/>
                  <a:pt x="7951271" y="6473908"/>
                </a:cubicBezTo>
                <a:lnTo>
                  <a:pt x="7951271" y="6267355"/>
                </a:lnTo>
                <a:cubicBezTo>
                  <a:pt x="7945934" y="6271625"/>
                  <a:pt x="7913910" y="6299379"/>
                  <a:pt x="7893628" y="6315391"/>
                </a:cubicBezTo>
                <a:cubicBezTo>
                  <a:pt x="7869611" y="6334071"/>
                  <a:pt x="7850930" y="6345280"/>
                  <a:pt x="7823710" y="6348482"/>
                </a:cubicBezTo>
                <a:cubicBezTo>
                  <a:pt x="7788484" y="6352752"/>
                  <a:pt x="7752724" y="6341543"/>
                  <a:pt x="7726038" y="6318059"/>
                </a:cubicBezTo>
                <a:cubicBezTo>
                  <a:pt x="7699351" y="6294575"/>
                  <a:pt x="7684407" y="6260417"/>
                  <a:pt x="7684407" y="6225191"/>
                </a:cubicBezTo>
                <a:cubicBezTo>
                  <a:pt x="7684407" y="6191566"/>
                  <a:pt x="7697750" y="6159542"/>
                  <a:pt x="7722302" y="6136058"/>
                </a:cubicBezTo>
                <a:cubicBezTo>
                  <a:pt x="7746853" y="6112574"/>
                  <a:pt x="7778877" y="6100298"/>
                  <a:pt x="7812502" y="6101366"/>
                </a:cubicBezTo>
                <a:close/>
                <a:moveTo>
                  <a:pt x="9547652" y="6062937"/>
                </a:moveTo>
                <a:cubicBezTo>
                  <a:pt x="9476133" y="6062937"/>
                  <a:pt x="9426496" y="6103500"/>
                  <a:pt x="9426496" y="6161143"/>
                </a:cubicBezTo>
                <a:cubicBezTo>
                  <a:pt x="9426496" y="6276428"/>
                  <a:pt x="9599424" y="6236399"/>
                  <a:pt x="9599424" y="6293508"/>
                </a:cubicBezTo>
                <a:cubicBezTo>
                  <a:pt x="9599424" y="6313256"/>
                  <a:pt x="9578609" y="6327666"/>
                  <a:pt x="9547652" y="6327666"/>
                </a:cubicBezTo>
                <a:cubicBezTo>
                  <a:pt x="9512426" y="6327666"/>
                  <a:pt x="9466526" y="6311654"/>
                  <a:pt x="9442508" y="6288704"/>
                </a:cubicBezTo>
                <a:lnTo>
                  <a:pt x="9414754" y="6342077"/>
                </a:lnTo>
                <a:cubicBezTo>
                  <a:pt x="9445177" y="6369831"/>
                  <a:pt x="9499083" y="6387444"/>
                  <a:pt x="9550321" y="6387444"/>
                </a:cubicBezTo>
                <a:cubicBezTo>
                  <a:pt x="9621841" y="6387444"/>
                  <a:pt x="9672011" y="6346881"/>
                  <a:pt x="9672011" y="6290839"/>
                </a:cubicBezTo>
                <a:cubicBezTo>
                  <a:pt x="9672011" y="6175554"/>
                  <a:pt x="9497482" y="6208111"/>
                  <a:pt x="9497482" y="6155272"/>
                </a:cubicBezTo>
                <a:cubicBezTo>
                  <a:pt x="9497482" y="6134990"/>
                  <a:pt x="9514561" y="6122181"/>
                  <a:pt x="9540714" y="6122181"/>
                </a:cubicBezTo>
                <a:cubicBezTo>
                  <a:pt x="9566867" y="6122181"/>
                  <a:pt x="9611700" y="6133389"/>
                  <a:pt x="9636251" y="6155272"/>
                </a:cubicBezTo>
                <a:lnTo>
                  <a:pt x="9664005" y="6100298"/>
                </a:lnTo>
                <a:cubicBezTo>
                  <a:pt x="9636251" y="6075213"/>
                  <a:pt x="9590884" y="6062937"/>
                  <a:pt x="9547652" y="6062937"/>
                </a:cubicBezTo>
                <a:close/>
                <a:moveTo>
                  <a:pt x="8558653" y="6062937"/>
                </a:moveTo>
                <a:cubicBezTo>
                  <a:pt x="8487134" y="6062937"/>
                  <a:pt x="8437497" y="6103500"/>
                  <a:pt x="8437497" y="6161143"/>
                </a:cubicBezTo>
                <a:cubicBezTo>
                  <a:pt x="8437497" y="6276428"/>
                  <a:pt x="8610425" y="6236399"/>
                  <a:pt x="8610425" y="6293508"/>
                </a:cubicBezTo>
                <a:cubicBezTo>
                  <a:pt x="8610425" y="6313256"/>
                  <a:pt x="8589610" y="6327666"/>
                  <a:pt x="8558653" y="6327666"/>
                </a:cubicBezTo>
                <a:cubicBezTo>
                  <a:pt x="8523427" y="6327666"/>
                  <a:pt x="8477527" y="6311654"/>
                  <a:pt x="8453509" y="6288704"/>
                </a:cubicBezTo>
                <a:lnTo>
                  <a:pt x="8425755" y="6342077"/>
                </a:lnTo>
                <a:cubicBezTo>
                  <a:pt x="8456711" y="6369831"/>
                  <a:pt x="8510618" y="6387444"/>
                  <a:pt x="8561322" y="6387444"/>
                </a:cubicBezTo>
                <a:cubicBezTo>
                  <a:pt x="8632842" y="6387444"/>
                  <a:pt x="8683012" y="6346881"/>
                  <a:pt x="8683012" y="6290839"/>
                </a:cubicBezTo>
                <a:cubicBezTo>
                  <a:pt x="8683012" y="6175554"/>
                  <a:pt x="8508483" y="6208111"/>
                  <a:pt x="8508483" y="6155272"/>
                </a:cubicBezTo>
                <a:cubicBezTo>
                  <a:pt x="8508483" y="6134990"/>
                  <a:pt x="8525562" y="6122181"/>
                  <a:pt x="8551715" y="6122181"/>
                </a:cubicBezTo>
                <a:cubicBezTo>
                  <a:pt x="8577868" y="6122181"/>
                  <a:pt x="8622701" y="6133389"/>
                  <a:pt x="8647252" y="6155272"/>
                </a:cubicBezTo>
                <a:lnTo>
                  <a:pt x="8675006" y="6100298"/>
                </a:lnTo>
                <a:cubicBezTo>
                  <a:pt x="8647252" y="6075213"/>
                  <a:pt x="8601885" y="6062937"/>
                  <a:pt x="8558653" y="6062937"/>
                </a:cubicBezTo>
                <a:close/>
                <a:moveTo>
                  <a:pt x="7809299" y="6029846"/>
                </a:moveTo>
                <a:cubicBezTo>
                  <a:pt x="7781545" y="6029846"/>
                  <a:pt x="7755393" y="6035717"/>
                  <a:pt x="7730307" y="6046392"/>
                </a:cubicBezTo>
                <a:cubicBezTo>
                  <a:pt x="7706290" y="6057066"/>
                  <a:pt x="7684941" y="6072544"/>
                  <a:pt x="7666794" y="6091759"/>
                </a:cubicBezTo>
                <a:cubicBezTo>
                  <a:pt x="7629433" y="6131788"/>
                  <a:pt x="7611286" y="6184094"/>
                  <a:pt x="7615022" y="6238534"/>
                </a:cubicBezTo>
                <a:cubicBezTo>
                  <a:pt x="7621427" y="6324998"/>
                  <a:pt x="7684407" y="6397585"/>
                  <a:pt x="7769270" y="6415198"/>
                </a:cubicBezTo>
                <a:cubicBezTo>
                  <a:pt x="7807164" y="6423204"/>
                  <a:pt x="7845593" y="6420002"/>
                  <a:pt x="7881353" y="6405591"/>
                </a:cubicBezTo>
                <a:lnTo>
                  <a:pt x="7881886" y="6405591"/>
                </a:lnTo>
                <a:lnTo>
                  <a:pt x="7881886" y="6544360"/>
                </a:lnTo>
                <a:cubicBezTo>
                  <a:pt x="7881886" y="6561440"/>
                  <a:pt x="7891493" y="6575850"/>
                  <a:pt x="7907505" y="6582789"/>
                </a:cubicBezTo>
                <a:cubicBezTo>
                  <a:pt x="7923517" y="6589193"/>
                  <a:pt x="7940596" y="6585991"/>
                  <a:pt x="7952339" y="6573715"/>
                </a:cubicBezTo>
                <a:lnTo>
                  <a:pt x="8157824" y="6368230"/>
                </a:lnTo>
                <a:cubicBezTo>
                  <a:pt x="8196786" y="6331936"/>
                  <a:pt x="8219736" y="6279631"/>
                  <a:pt x="8219736" y="6224657"/>
                </a:cubicBezTo>
                <a:cubicBezTo>
                  <a:pt x="8219736" y="6117377"/>
                  <a:pt x="8132205" y="6029846"/>
                  <a:pt x="8024926" y="6029846"/>
                </a:cubicBezTo>
                <a:cubicBezTo>
                  <a:pt x="7986497" y="6029846"/>
                  <a:pt x="7949136" y="6041054"/>
                  <a:pt x="7917112" y="6062403"/>
                </a:cubicBezTo>
                <a:cubicBezTo>
                  <a:pt x="7885089" y="6041054"/>
                  <a:pt x="7847728" y="6029846"/>
                  <a:pt x="7809299" y="6029846"/>
                </a:cubicBezTo>
                <a:close/>
                <a:moveTo>
                  <a:pt x="9067831" y="5969001"/>
                </a:moveTo>
                <a:lnTo>
                  <a:pt x="9067831" y="6380506"/>
                </a:lnTo>
                <a:lnTo>
                  <a:pt x="9138283" y="6380506"/>
                </a:lnTo>
                <a:lnTo>
                  <a:pt x="9138283" y="6338341"/>
                </a:lnTo>
                <a:cubicBezTo>
                  <a:pt x="9154829" y="6366629"/>
                  <a:pt x="9196460" y="6386910"/>
                  <a:pt x="9237557" y="6386910"/>
                </a:cubicBezTo>
                <a:cubicBezTo>
                  <a:pt x="9321352" y="6386910"/>
                  <a:pt x="9387001" y="6315391"/>
                  <a:pt x="9387001" y="6224657"/>
                </a:cubicBezTo>
                <a:cubicBezTo>
                  <a:pt x="9387001" y="6134457"/>
                  <a:pt x="9321352" y="6062937"/>
                  <a:pt x="9237557" y="6062937"/>
                </a:cubicBezTo>
                <a:cubicBezTo>
                  <a:pt x="9195926" y="6062937"/>
                  <a:pt x="9154829" y="6083753"/>
                  <a:pt x="9138283" y="6111507"/>
                </a:cubicBezTo>
                <a:lnTo>
                  <a:pt x="9138283" y="5969001"/>
                </a:lnTo>
                <a:close/>
                <a:moveTo>
                  <a:pt x="8732115" y="5969001"/>
                </a:moveTo>
                <a:lnTo>
                  <a:pt x="8732115" y="6380506"/>
                </a:lnTo>
                <a:lnTo>
                  <a:pt x="8802567" y="6380506"/>
                </a:lnTo>
                <a:lnTo>
                  <a:pt x="8802567" y="6233730"/>
                </a:lnTo>
                <a:lnTo>
                  <a:pt x="8934932" y="6380506"/>
                </a:lnTo>
                <a:lnTo>
                  <a:pt x="8934932" y="6379972"/>
                </a:lnTo>
                <a:lnTo>
                  <a:pt x="9026733" y="6379972"/>
                </a:lnTo>
                <a:lnTo>
                  <a:pt x="8874087" y="6218252"/>
                </a:lnTo>
                <a:lnTo>
                  <a:pt x="9017126" y="6068808"/>
                </a:lnTo>
                <a:lnTo>
                  <a:pt x="8928527" y="6068808"/>
                </a:lnTo>
                <a:lnTo>
                  <a:pt x="8802567" y="6203308"/>
                </a:lnTo>
                <a:lnTo>
                  <a:pt x="8802567" y="5969001"/>
                </a:lnTo>
                <a:close/>
                <a:moveTo>
                  <a:pt x="4423851" y="0"/>
                </a:moveTo>
                <a:lnTo>
                  <a:pt x="10297500" y="0"/>
                </a:lnTo>
                <a:lnTo>
                  <a:pt x="10297500" y="6858001"/>
                </a:lnTo>
                <a:lnTo>
                  <a:pt x="0" y="6858001"/>
                </a:lnTo>
                <a:lnTo>
                  <a:pt x="3068606" y="3789408"/>
                </a:lnTo>
                <a:cubicBezTo>
                  <a:pt x="3713828" y="3188384"/>
                  <a:pt x="4093877" y="2322200"/>
                  <a:pt x="4093877" y="1411818"/>
                </a:cubicBezTo>
                <a:cubicBezTo>
                  <a:pt x="4093877" y="967676"/>
                  <a:pt x="4003281" y="543974"/>
                  <a:pt x="3839628" y="158252"/>
                </a:cubicBezTo>
                <a:lnTo>
                  <a:pt x="3763191" y="2"/>
                </a:lnTo>
                <a:lnTo>
                  <a:pt x="4423851" y="2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dirty="0"/>
              <a:t>Bild durch Klicken hinzufügen</a:t>
            </a: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2A2B5D42-8562-473C-BD86-A5278FFF3471}"/>
              </a:ext>
            </a:extLst>
          </p:cNvPr>
          <p:cNvSpPr>
            <a:spLocks/>
          </p:cNvSpPr>
          <p:nvPr userDrawn="1"/>
        </p:nvSpPr>
        <p:spPr bwMode="gray">
          <a:xfrm>
            <a:off x="0" y="-1"/>
            <a:ext cx="6318351" cy="6858001"/>
          </a:xfrm>
          <a:custGeom>
            <a:avLst/>
            <a:gdLst>
              <a:gd name="connsiteX0" fmla="*/ 0 w 6318351"/>
              <a:gd name="connsiteY0" fmla="*/ 0 h 6858001"/>
              <a:gd name="connsiteX1" fmla="*/ 6318351 w 6318351"/>
              <a:gd name="connsiteY1" fmla="*/ 0 h 6858001"/>
              <a:gd name="connsiteX2" fmla="*/ 6318351 w 6318351"/>
              <a:gd name="connsiteY2" fmla="*/ 1 h 6858001"/>
              <a:gd name="connsiteX3" fmla="*/ 5657690 w 6318351"/>
              <a:gd name="connsiteY3" fmla="*/ 1 h 6858001"/>
              <a:gd name="connsiteX4" fmla="*/ 5734128 w 6318351"/>
              <a:gd name="connsiteY4" fmla="*/ 158251 h 6858001"/>
              <a:gd name="connsiteX5" fmla="*/ 5988377 w 6318351"/>
              <a:gd name="connsiteY5" fmla="*/ 1411817 h 6858001"/>
              <a:gd name="connsiteX6" fmla="*/ 4963106 w 6318351"/>
              <a:gd name="connsiteY6" fmla="*/ 3789408 h 6858001"/>
              <a:gd name="connsiteX7" fmla="*/ 1894499 w 6318351"/>
              <a:gd name="connsiteY7" fmla="*/ 6858001 h 6858001"/>
              <a:gd name="connsiteX8" fmla="*/ 0 w 6318351"/>
              <a:gd name="connsiteY8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18351" h="6858001">
                <a:moveTo>
                  <a:pt x="0" y="0"/>
                </a:moveTo>
                <a:lnTo>
                  <a:pt x="6318351" y="0"/>
                </a:lnTo>
                <a:lnTo>
                  <a:pt x="6318351" y="1"/>
                </a:lnTo>
                <a:lnTo>
                  <a:pt x="5657690" y="1"/>
                </a:lnTo>
                <a:lnTo>
                  <a:pt x="5734128" y="158251"/>
                </a:lnTo>
                <a:cubicBezTo>
                  <a:pt x="5897781" y="543974"/>
                  <a:pt x="5988377" y="967676"/>
                  <a:pt x="5988377" y="1411817"/>
                </a:cubicBezTo>
                <a:cubicBezTo>
                  <a:pt x="5988377" y="2322199"/>
                  <a:pt x="5608328" y="3188383"/>
                  <a:pt x="4963106" y="3789408"/>
                </a:cubicBezTo>
                <a:lnTo>
                  <a:pt x="1894499" y="6858001"/>
                </a:lnTo>
                <a:lnTo>
                  <a:pt x="0" y="6858001"/>
                </a:lnTo>
                <a:close/>
              </a:path>
            </a:pathLst>
          </a:custGeom>
          <a:solidFill>
            <a:srgbClr val="E1D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639FB5-612E-4C65-B977-BF5AD9731AC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23889" y="836614"/>
            <a:ext cx="4583111" cy="1354217"/>
          </a:xfrm>
        </p:spPr>
        <p:txBody>
          <a:bodyPr vert="horz" anchor="b">
            <a:noAutofit/>
          </a:bodyPr>
          <a:lstStyle>
            <a:lvl1pPr algn="l" rtl="0">
              <a:defRPr sz="44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DCD785-4613-4BA9-918A-655171771830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623888" y="2278487"/>
            <a:ext cx="4583111" cy="246221"/>
          </a:xfrm>
        </p:spPr>
        <p:txBody>
          <a:bodyPr>
            <a:noAutofit/>
          </a:bodyPr>
          <a:lstStyle>
            <a:lvl1pPr marL="0" indent="0" algn="l" rtl="0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FEC9E79-0FE1-4087-AECD-23E103FD27E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23889" y="6258639"/>
            <a:ext cx="1023937" cy="123111"/>
          </a:xfrm>
          <a:prstGeom prst="rect">
            <a:avLst/>
          </a:prstGeom>
          <a:noFill/>
        </p:spPr>
        <p:txBody>
          <a:bodyPr wrap="square" lIns="0" tIns="0" rIns="0" bIns="0" anchor="b">
            <a:noAutofit/>
          </a:bodyPr>
          <a:lstStyle/>
          <a:p>
            <a:pPr rtl="0">
              <a:buClr>
                <a:schemeClr val="tx1"/>
              </a:buClr>
              <a:buSzPct val="100000"/>
            </a:pPr>
            <a:r>
              <a:rPr lang="de-DE" sz="800" dirty="0">
                <a:solidFill>
                  <a:schemeClr val="tx2"/>
                </a:solidFill>
                <a:latin typeface="Hellix" pitchFamily="50" charset="0"/>
                <a:cs typeface="Hellix" pitchFamily="50" charset="0"/>
                <a:sym typeface="+mn-lt"/>
              </a:rPr>
              <a:t>skbs.de</a:t>
            </a:r>
          </a:p>
        </p:txBody>
      </p:sp>
    </p:spTree>
    <p:extLst>
      <p:ext uri="{BB962C8B-B14F-4D97-AF65-F5344CB8AC3E}">
        <p14:creationId xmlns:p14="http://schemas.microsoft.com/office/powerpoint/2010/main" val="14329815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BAD996-C5E8-4FA2-BF2B-3C5C7158B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759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BAD996-C5E8-4FA2-BF2B-3C5C7158B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18916A8F-37E8-46A2-91BA-19731566462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894501" y="-1"/>
            <a:ext cx="10297500" cy="6858001"/>
          </a:xfrm>
          <a:custGeom>
            <a:avLst/>
            <a:gdLst>
              <a:gd name="connsiteX0" fmla="*/ 9222612 w 10297500"/>
              <a:gd name="connsiteY0" fmla="*/ 6130721 h 6858001"/>
              <a:gd name="connsiteX1" fmla="*/ 9316549 w 10297500"/>
              <a:gd name="connsiteY1" fmla="*/ 6224657 h 6858001"/>
              <a:gd name="connsiteX2" fmla="*/ 9222612 w 10297500"/>
              <a:gd name="connsiteY2" fmla="*/ 6319661 h 6858001"/>
              <a:gd name="connsiteX3" fmla="*/ 9137749 w 10297500"/>
              <a:gd name="connsiteY3" fmla="*/ 6273226 h 6858001"/>
              <a:gd name="connsiteX4" fmla="*/ 9137749 w 10297500"/>
              <a:gd name="connsiteY4" fmla="*/ 6177689 h 6858001"/>
              <a:gd name="connsiteX5" fmla="*/ 9222612 w 10297500"/>
              <a:gd name="connsiteY5" fmla="*/ 6130721 h 6858001"/>
              <a:gd name="connsiteX6" fmla="*/ 7812502 w 10297500"/>
              <a:gd name="connsiteY6" fmla="*/ 6101366 h 6858001"/>
              <a:gd name="connsiteX7" fmla="*/ 7894696 w 10297500"/>
              <a:gd name="connsiteY7" fmla="*/ 6136058 h 6858001"/>
              <a:gd name="connsiteX8" fmla="*/ 7916579 w 10297500"/>
              <a:gd name="connsiteY8" fmla="*/ 6155272 h 6858001"/>
              <a:gd name="connsiteX9" fmla="*/ 7938462 w 10297500"/>
              <a:gd name="connsiteY9" fmla="*/ 6136058 h 6858001"/>
              <a:gd name="connsiteX10" fmla="*/ 8020656 w 10297500"/>
              <a:gd name="connsiteY10" fmla="*/ 6101366 h 6858001"/>
              <a:gd name="connsiteX11" fmla="*/ 8110856 w 10297500"/>
              <a:gd name="connsiteY11" fmla="*/ 6136058 h 6858001"/>
              <a:gd name="connsiteX12" fmla="*/ 8148751 w 10297500"/>
              <a:gd name="connsiteY12" fmla="*/ 6225191 h 6858001"/>
              <a:gd name="connsiteX13" fmla="*/ 8108187 w 10297500"/>
              <a:gd name="connsiteY13" fmla="*/ 6316992 h 6858001"/>
              <a:gd name="connsiteX14" fmla="*/ 7951271 w 10297500"/>
              <a:gd name="connsiteY14" fmla="*/ 6473908 h 6858001"/>
              <a:gd name="connsiteX15" fmla="*/ 7951271 w 10297500"/>
              <a:gd name="connsiteY15" fmla="*/ 6267355 h 6858001"/>
              <a:gd name="connsiteX16" fmla="*/ 7893628 w 10297500"/>
              <a:gd name="connsiteY16" fmla="*/ 6315391 h 6858001"/>
              <a:gd name="connsiteX17" fmla="*/ 7823710 w 10297500"/>
              <a:gd name="connsiteY17" fmla="*/ 6348482 h 6858001"/>
              <a:gd name="connsiteX18" fmla="*/ 7726038 w 10297500"/>
              <a:gd name="connsiteY18" fmla="*/ 6318059 h 6858001"/>
              <a:gd name="connsiteX19" fmla="*/ 7684407 w 10297500"/>
              <a:gd name="connsiteY19" fmla="*/ 6225191 h 6858001"/>
              <a:gd name="connsiteX20" fmla="*/ 7722302 w 10297500"/>
              <a:gd name="connsiteY20" fmla="*/ 6136058 h 6858001"/>
              <a:gd name="connsiteX21" fmla="*/ 7812502 w 10297500"/>
              <a:gd name="connsiteY21" fmla="*/ 6101366 h 6858001"/>
              <a:gd name="connsiteX22" fmla="*/ 9547652 w 10297500"/>
              <a:gd name="connsiteY22" fmla="*/ 6062937 h 6858001"/>
              <a:gd name="connsiteX23" fmla="*/ 9426496 w 10297500"/>
              <a:gd name="connsiteY23" fmla="*/ 6161143 h 6858001"/>
              <a:gd name="connsiteX24" fmla="*/ 9599424 w 10297500"/>
              <a:gd name="connsiteY24" fmla="*/ 6293508 h 6858001"/>
              <a:gd name="connsiteX25" fmla="*/ 9547652 w 10297500"/>
              <a:gd name="connsiteY25" fmla="*/ 6327666 h 6858001"/>
              <a:gd name="connsiteX26" fmla="*/ 9442508 w 10297500"/>
              <a:gd name="connsiteY26" fmla="*/ 6288704 h 6858001"/>
              <a:gd name="connsiteX27" fmla="*/ 9414754 w 10297500"/>
              <a:gd name="connsiteY27" fmla="*/ 6342077 h 6858001"/>
              <a:gd name="connsiteX28" fmla="*/ 9550321 w 10297500"/>
              <a:gd name="connsiteY28" fmla="*/ 6387444 h 6858001"/>
              <a:gd name="connsiteX29" fmla="*/ 9672011 w 10297500"/>
              <a:gd name="connsiteY29" fmla="*/ 6290839 h 6858001"/>
              <a:gd name="connsiteX30" fmla="*/ 9497482 w 10297500"/>
              <a:gd name="connsiteY30" fmla="*/ 6155272 h 6858001"/>
              <a:gd name="connsiteX31" fmla="*/ 9540714 w 10297500"/>
              <a:gd name="connsiteY31" fmla="*/ 6122181 h 6858001"/>
              <a:gd name="connsiteX32" fmla="*/ 9636251 w 10297500"/>
              <a:gd name="connsiteY32" fmla="*/ 6155272 h 6858001"/>
              <a:gd name="connsiteX33" fmla="*/ 9664005 w 10297500"/>
              <a:gd name="connsiteY33" fmla="*/ 6100298 h 6858001"/>
              <a:gd name="connsiteX34" fmla="*/ 9547652 w 10297500"/>
              <a:gd name="connsiteY34" fmla="*/ 6062937 h 6858001"/>
              <a:gd name="connsiteX35" fmla="*/ 8558653 w 10297500"/>
              <a:gd name="connsiteY35" fmla="*/ 6062937 h 6858001"/>
              <a:gd name="connsiteX36" fmla="*/ 8437497 w 10297500"/>
              <a:gd name="connsiteY36" fmla="*/ 6161143 h 6858001"/>
              <a:gd name="connsiteX37" fmla="*/ 8610425 w 10297500"/>
              <a:gd name="connsiteY37" fmla="*/ 6293508 h 6858001"/>
              <a:gd name="connsiteX38" fmla="*/ 8558653 w 10297500"/>
              <a:gd name="connsiteY38" fmla="*/ 6327666 h 6858001"/>
              <a:gd name="connsiteX39" fmla="*/ 8453509 w 10297500"/>
              <a:gd name="connsiteY39" fmla="*/ 6288704 h 6858001"/>
              <a:gd name="connsiteX40" fmla="*/ 8425755 w 10297500"/>
              <a:gd name="connsiteY40" fmla="*/ 6342077 h 6858001"/>
              <a:gd name="connsiteX41" fmla="*/ 8561322 w 10297500"/>
              <a:gd name="connsiteY41" fmla="*/ 6387444 h 6858001"/>
              <a:gd name="connsiteX42" fmla="*/ 8683012 w 10297500"/>
              <a:gd name="connsiteY42" fmla="*/ 6290839 h 6858001"/>
              <a:gd name="connsiteX43" fmla="*/ 8508483 w 10297500"/>
              <a:gd name="connsiteY43" fmla="*/ 6155272 h 6858001"/>
              <a:gd name="connsiteX44" fmla="*/ 8551715 w 10297500"/>
              <a:gd name="connsiteY44" fmla="*/ 6122181 h 6858001"/>
              <a:gd name="connsiteX45" fmla="*/ 8647252 w 10297500"/>
              <a:gd name="connsiteY45" fmla="*/ 6155272 h 6858001"/>
              <a:gd name="connsiteX46" fmla="*/ 8675006 w 10297500"/>
              <a:gd name="connsiteY46" fmla="*/ 6100298 h 6858001"/>
              <a:gd name="connsiteX47" fmla="*/ 8558653 w 10297500"/>
              <a:gd name="connsiteY47" fmla="*/ 6062937 h 6858001"/>
              <a:gd name="connsiteX48" fmla="*/ 7809299 w 10297500"/>
              <a:gd name="connsiteY48" fmla="*/ 6029846 h 6858001"/>
              <a:gd name="connsiteX49" fmla="*/ 7730307 w 10297500"/>
              <a:gd name="connsiteY49" fmla="*/ 6046392 h 6858001"/>
              <a:gd name="connsiteX50" fmla="*/ 7666794 w 10297500"/>
              <a:gd name="connsiteY50" fmla="*/ 6091759 h 6858001"/>
              <a:gd name="connsiteX51" fmla="*/ 7615022 w 10297500"/>
              <a:gd name="connsiteY51" fmla="*/ 6238534 h 6858001"/>
              <a:gd name="connsiteX52" fmla="*/ 7769270 w 10297500"/>
              <a:gd name="connsiteY52" fmla="*/ 6415198 h 6858001"/>
              <a:gd name="connsiteX53" fmla="*/ 7881353 w 10297500"/>
              <a:gd name="connsiteY53" fmla="*/ 6405591 h 6858001"/>
              <a:gd name="connsiteX54" fmla="*/ 7881886 w 10297500"/>
              <a:gd name="connsiteY54" fmla="*/ 6405591 h 6858001"/>
              <a:gd name="connsiteX55" fmla="*/ 7881886 w 10297500"/>
              <a:gd name="connsiteY55" fmla="*/ 6544360 h 6858001"/>
              <a:gd name="connsiteX56" fmla="*/ 7907505 w 10297500"/>
              <a:gd name="connsiteY56" fmla="*/ 6582789 h 6858001"/>
              <a:gd name="connsiteX57" fmla="*/ 7952339 w 10297500"/>
              <a:gd name="connsiteY57" fmla="*/ 6573715 h 6858001"/>
              <a:gd name="connsiteX58" fmla="*/ 8157824 w 10297500"/>
              <a:gd name="connsiteY58" fmla="*/ 6368230 h 6858001"/>
              <a:gd name="connsiteX59" fmla="*/ 8219736 w 10297500"/>
              <a:gd name="connsiteY59" fmla="*/ 6224657 h 6858001"/>
              <a:gd name="connsiteX60" fmla="*/ 8024926 w 10297500"/>
              <a:gd name="connsiteY60" fmla="*/ 6029846 h 6858001"/>
              <a:gd name="connsiteX61" fmla="*/ 7917112 w 10297500"/>
              <a:gd name="connsiteY61" fmla="*/ 6062403 h 6858001"/>
              <a:gd name="connsiteX62" fmla="*/ 7809299 w 10297500"/>
              <a:gd name="connsiteY62" fmla="*/ 6029846 h 6858001"/>
              <a:gd name="connsiteX63" fmla="*/ 9067831 w 10297500"/>
              <a:gd name="connsiteY63" fmla="*/ 5969001 h 6858001"/>
              <a:gd name="connsiteX64" fmla="*/ 9067831 w 10297500"/>
              <a:gd name="connsiteY64" fmla="*/ 6380506 h 6858001"/>
              <a:gd name="connsiteX65" fmla="*/ 9138283 w 10297500"/>
              <a:gd name="connsiteY65" fmla="*/ 6380506 h 6858001"/>
              <a:gd name="connsiteX66" fmla="*/ 9138283 w 10297500"/>
              <a:gd name="connsiteY66" fmla="*/ 6338341 h 6858001"/>
              <a:gd name="connsiteX67" fmla="*/ 9237557 w 10297500"/>
              <a:gd name="connsiteY67" fmla="*/ 6386910 h 6858001"/>
              <a:gd name="connsiteX68" fmla="*/ 9387001 w 10297500"/>
              <a:gd name="connsiteY68" fmla="*/ 6224657 h 6858001"/>
              <a:gd name="connsiteX69" fmla="*/ 9237557 w 10297500"/>
              <a:gd name="connsiteY69" fmla="*/ 6062937 h 6858001"/>
              <a:gd name="connsiteX70" fmla="*/ 9138283 w 10297500"/>
              <a:gd name="connsiteY70" fmla="*/ 6111507 h 6858001"/>
              <a:gd name="connsiteX71" fmla="*/ 9138283 w 10297500"/>
              <a:gd name="connsiteY71" fmla="*/ 5969001 h 6858001"/>
              <a:gd name="connsiteX72" fmla="*/ 8732115 w 10297500"/>
              <a:gd name="connsiteY72" fmla="*/ 5969001 h 6858001"/>
              <a:gd name="connsiteX73" fmla="*/ 8732115 w 10297500"/>
              <a:gd name="connsiteY73" fmla="*/ 6380506 h 6858001"/>
              <a:gd name="connsiteX74" fmla="*/ 8802567 w 10297500"/>
              <a:gd name="connsiteY74" fmla="*/ 6380506 h 6858001"/>
              <a:gd name="connsiteX75" fmla="*/ 8802567 w 10297500"/>
              <a:gd name="connsiteY75" fmla="*/ 6233730 h 6858001"/>
              <a:gd name="connsiteX76" fmla="*/ 8934932 w 10297500"/>
              <a:gd name="connsiteY76" fmla="*/ 6380506 h 6858001"/>
              <a:gd name="connsiteX77" fmla="*/ 8934932 w 10297500"/>
              <a:gd name="connsiteY77" fmla="*/ 6379972 h 6858001"/>
              <a:gd name="connsiteX78" fmla="*/ 9026733 w 10297500"/>
              <a:gd name="connsiteY78" fmla="*/ 6379972 h 6858001"/>
              <a:gd name="connsiteX79" fmla="*/ 8874087 w 10297500"/>
              <a:gd name="connsiteY79" fmla="*/ 6218252 h 6858001"/>
              <a:gd name="connsiteX80" fmla="*/ 9017126 w 10297500"/>
              <a:gd name="connsiteY80" fmla="*/ 6068808 h 6858001"/>
              <a:gd name="connsiteX81" fmla="*/ 8928527 w 10297500"/>
              <a:gd name="connsiteY81" fmla="*/ 6068808 h 6858001"/>
              <a:gd name="connsiteX82" fmla="*/ 8802567 w 10297500"/>
              <a:gd name="connsiteY82" fmla="*/ 6203308 h 6858001"/>
              <a:gd name="connsiteX83" fmla="*/ 8802567 w 10297500"/>
              <a:gd name="connsiteY83" fmla="*/ 5969001 h 6858001"/>
              <a:gd name="connsiteX84" fmla="*/ 4423851 w 10297500"/>
              <a:gd name="connsiteY84" fmla="*/ 0 h 6858001"/>
              <a:gd name="connsiteX85" fmla="*/ 10297500 w 10297500"/>
              <a:gd name="connsiteY85" fmla="*/ 0 h 6858001"/>
              <a:gd name="connsiteX86" fmla="*/ 10297500 w 10297500"/>
              <a:gd name="connsiteY86" fmla="*/ 6858001 h 6858001"/>
              <a:gd name="connsiteX87" fmla="*/ 0 w 10297500"/>
              <a:gd name="connsiteY87" fmla="*/ 6858001 h 6858001"/>
              <a:gd name="connsiteX88" fmla="*/ 3068606 w 10297500"/>
              <a:gd name="connsiteY88" fmla="*/ 3789408 h 6858001"/>
              <a:gd name="connsiteX89" fmla="*/ 4093877 w 10297500"/>
              <a:gd name="connsiteY89" fmla="*/ 1411818 h 6858001"/>
              <a:gd name="connsiteX90" fmla="*/ 3839628 w 10297500"/>
              <a:gd name="connsiteY90" fmla="*/ 158252 h 6858001"/>
              <a:gd name="connsiteX91" fmla="*/ 3763191 w 10297500"/>
              <a:gd name="connsiteY91" fmla="*/ 2 h 6858001"/>
              <a:gd name="connsiteX92" fmla="*/ 4423851 w 10297500"/>
              <a:gd name="connsiteY92" fmla="*/ 2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10297500" h="6858001">
                <a:moveTo>
                  <a:pt x="9222612" y="6130721"/>
                </a:moveTo>
                <a:cubicBezTo>
                  <a:pt x="9275985" y="6130721"/>
                  <a:pt x="9316549" y="6170750"/>
                  <a:pt x="9316549" y="6224657"/>
                </a:cubicBezTo>
                <a:cubicBezTo>
                  <a:pt x="9316549" y="6278564"/>
                  <a:pt x="9275985" y="6319127"/>
                  <a:pt x="9222612" y="6319661"/>
                </a:cubicBezTo>
                <a:cubicBezTo>
                  <a:pt x="9187386" y="6319661"/>
                  <a:pt x="9153228" y="6299913"/>
                  <a:pt x="9137749" y="6273226"/>
                </a:cubicBezTo>
                <a:lnTo>
                  <a:pt x="9137749" y="6177689"/>
                </a:lnTo>
                <a:cubicBezTo>
                  <a:pt x="9153228" y="6150469"/>
                  <a:pt x="9186852" y="6130721"/>
                  <a:pt x="9222612" y="6130721"/>
                </a:cubicBezTo>
                <a:close/>
                <a:moveTo>
                  <a:pt x="7812502" y="6101366"/>
                </a:moveTo>
                <a:cubicBezTo>
                  <a:pt x="7845059" y="6102433"/>
                  <a:pt x="7876015" y="6120046"/>
                  <a:pt x="7894696" y="6136058"/>
                </a:cubicBezTo>
                <a:cubicBezTo>
                  <a:pt x="7911241" y="6151002"/>
                  <a:pt x="7915511" y="6154738"/>
                  <a:pt x="7916579" y="6155272"/>
                </a:cubicBezTo>
                <a:cubicBezTo>
                  <a:pt x="7917646" y="6154205"/>
                  <a:pt x="7921916" y="6150469"/>
                  <a:pt x="7938462" y="6136058"/>
                </a:cubicBezTo>
                <a:cubicBezTo>
                  <a:pt x="7964081" y="6113641"/>
                  <a:pt x="7991301" y="6102433"/>
                  <a:pt x="8020656" y="6101366"/>
                </a:cubicBezTo>
                <a:cubicBezTo>
                  <a:pt x="8054814" y="6100298"/>
                  <a:pt x="8086838" y="6112574"/>
                  <a:pt x="8110856" y="6136058"/>
                </a:cubicBezTo>
                <a:cubicBezTo>
                  <a:pt x="8135407" y="6159542"/>
                  <a:pt x="8148751" y="6191566"/>
                  <a:pt x="8148751" y="6225191"/>
                </a:cubicBezTo>
                <a:cubicBezTo>
                  <a:pt x="8149284" y="6259883"/>
                  <a:pt x="8135941" y="6289238"/>
                  <a:pt x="8108187" y="6316992"/>
                </a:cubicBezTo>
                <a:cubicBezTo>
                  <a:pt x="8080433" y="6344746"/>
                  <a:pt x="7951271" y="6473908"/>
                  <a:pt x="7951271" y="6473908"/>
                </a:cubicBezTo>
                <a:lnTo>
                  <a:pt x="7951271" y="6267355"/>
                </a:lnTo>
                <a:cubicBezTo>
                  <a:pt x="7945934" y="6271625"/>
                  <a:pt x="7913910" y="6299379"/>
                  <a:pt x="7893628" y="6315391"/>
                </a:cubicBezTo>
                <a:cubicBezTo>
                  <a:pt x="7869611" y="6334071"/>
                  <a:pt x="7850930" y="6345280"/>
                  <a:pt x="7823710" y="6348482"/>
                </a:cubicBezTo>
                <a:cubicBezTo>
                  <a:pt x="7788484" y="6352752"/>
                  <a:pt x="7752724" y="6341543"/>
                  <a:pt x="7726038" y="6318059"/>
                </a:cubicBezTo>
                <a:cubicBezTo>
                  <a:pt x="7699351" y="6294575"/>
                  <a:pt x="7684407" y="6260417"/>
                  <a:pt x="7684407" y="6225191"/>
                </a:cubicBezTo>
                <a:cubicBezTo>
                  <a:pt x="7684407" y="6191566"/>
                  <a:pt x="7697750" y="6159542"/>
                  <a:pt x="7722302" y="6136058"/>
                </a:cubicBezTo>
                <a:cubicBezTo>
                  <a:pt x="7746853" y="6112574"/>
                  <a:pt x="7778877" y="6100298"/>
                  <a:pt x="7812502" y="6101366"/>
                </a:cubicBezTo>
                <a:close/>
                <a:moveTo>
                  <a:pt x="9547652" y="6062937"/>
                </a:moveTo>
                <a:cubicBezTo>
                  <a:pt x="9476133" y="6062937"/>
                  <a:pt x="9426496" y="6103500"/>
                  <a:pt x="9426496" y="6161143"/>
                </a:cubicBezTo>
                <a:cubicBezTo>
                  <a:pt x="9426496" y="6276428"/>
                  <a:pt x="9599424" y="6236399"/>
                  <a:pt x="9599424" y="6293508"/>
                </a:cubicBezTo>
                <a:cubicBezTo>
                  <a:pt x="9599424" y="6313256"/>
                  <a:pt x="9578609" y="6327666"/>
                  <a:pt x="9547652" y="6327666"/>
                </a:cubicBezTo>
                <a:cubicBezTo>
                  <a:pt x="9512426" y="6327666"/>
                  <a:pt x="9466526" y="6311654"/>
                  <a:pt x="9442508" y="6288704"/>
                </a:cubicBezTo>
                <a:lnTo>
                  <a:pt x="9414754" y="6342077"/>
                </a:lnTo>
                <a:cubicBezTo>
                  <a:pt x="9445177" y="6369831"/>
                  <a:pt x="9499083" y="6387444"/>
                  <a:pt x="9550321" y="6387444"/>
                </a:cubicBezTo>
                <a:cubicBezTo>
                  <a:pt x="9621841" y="6387444"/>
                  <a:pt x="9672011" y="6346881"/>
                  <a:pt x="9672011" y="6290839"/>
                </a:cubicBezTo>
                <a:cubicBezTo>
                  <a:pt x="9672011" y="6175554"/>
                  <a:pt x="9497482" y="6208111"/>
                  <a:pt x="9497482" y="6155272"/>
                </a:cubicBezTo>
                <a:cubicBezTo>
                  <a:pt x="9497482" y="6134990"/>
                  <a:pt x="9514561" y="6122181"/>
                  <a:pt x="9540714" y="6122181"/>
                </a:cubicBezTo>
                <a:cubicBezTo>
                  <a:pt x="9566867" y="6122181"/>
                  <a:pt x="9611700" y="6133389"/>
                  <a:pt x="9636251" y="6155272"/>
                </a:cubicBezTo>
                <a:lnTo>
                  <a:pt x="9664005" y="6100298"/>
                </a:lnTo>
                <a:cubicBezTo>
                  <a:pt x="9636251" y="6075213"/>
                  <a:pt x="9590884" y="6062937"/>
                  <a:pt x="9547652" y="6062937"/>
                </a:cubicBezTo>
                <a:close/>
                <a:moveTo>
                  <a:pt x="8558653" y="6062937"/>
                </a:moveTo>
                <a:cubicBezTo>
                  <a:pt x="8487134" y="6062937"/>
                  <a:pt x="8437497" y="6103500"/>
                  <a:pt x="8437497" y="6161143"/>
                </a:cubicBezTo>
                <a:cubicBezTo>
                  <a:pt x="8437497" y="6276428"/>
                  <a:pt x="8610425" y="6236399"/>
                  <a:pt x="8610425" y="6293508"/>
                </a:cubicBezTo>
                <a:cubicBezTo>
                  <a:pt x="8610425" y="6313256"/>
                  <a:pt x="8589610" y="6327666"/>
                  <a:pt x="8558653" y="6327666"/>
                </a:cubicBezTo>
                <a:cubicBezTo>
                  <a:pt x="8523427" y="6327666"/>
                  <a:pt x="8477527" y="6311654"/>
                  <a:pt x="8453509" y="6288704"/>
                </a:cubicBezTo>
                <a:lnTo>
                  <a:pt x="8425755" y="6342077"/>
                </a:lnTo>
                <a:cubicBezTo>
                  <a:pt x="8456711" y="6369831"/>
                  <a:pt x="8510618" y="6387444"/>
                  <a:pt x="8561322" y="6387444"/>
                </a:cubicBezTo>
                <a:cubicBezTo>
                  <a:pt x="8632842" y="6387444"/>
                  <a:pt x="8683012" y="6346881"/>
                  <a:pt x="8683012" y="6290839"/>
                </a:cubicBezTo>
                <a:cubicBezTo>
                  <a:pt x="8683012" y="6175554"/>
                  <a:pt x="8508483" y="6208111"/>
                  <a:pt x="8508483" y="6155272"/>
                </a:cubicBezTo>
                <a:cubicBezTo>
                  <a:pt x="8508483" y="6134990"/>
                  <a:pt x="8525562" y="6122181"/>
                  <a:pt x="8551715" y="6122181"/>
                </a:cubicBezTo>
                <a:cubicBezTo>
                  <a:pt x="8577868" y="6122181"/>
                  <a:pt x="8622701" y="6133389"/>
                  <a:pt x="8647252" y="6155272"/>
                </a:cubicBezTo>
                <a:lnTo>
                  <a:pt x="8675006" y="6100298"/>
                </a:lnTo>
                <a:cubicBezTo>
                  <a:pt x="8647252" y="6075213"/>
                  <a:pt x="8601885" y="6062937"/>
                  <a:pt x="8558653" y="6062937"/>
                </a:cubicBezTo>
                <a:close/>
                <a:moveTo>
                  <a:pt x="7809299" y="6029846"/>
                </a:moveTo>
                <a:cubicBezTo>
                  <a:pt x="7781545" y="6029846"/>
                  <a:pt x="7755393" y="6035717"/>
                  <a:pt x="7730307" y="6046392"/>
                </a:cubicBezTo>
                <a:cubicBezTo>
                  <a:pt x="7706290" y="6057066"/>
                  <a:pt x="7684941" y="6072544"/>
                  <a:pt x="7666794" y="6091759"/>
                </a:cubicBezTo>
                <a:cubicBezTo>
                  <a:pt x="7629433" y="6131788"/>
                  <a:pt x="7611286" y="6184094"/>
                  <a:pt x="7615022" y="6238534"/>
                </a:cubicBezTo>
                <a:cubicBezTo>
                  <a:pt x="7621427" y="6324998"/>
                  <a:pt x="7684407" y="6397585"/>
                  <a:pt x="7769270" y="6415198"/>
                </a:cubicBezTo>
                <a:cubicBezTo>
                  <a:pt x="7807164" y="6423204"/>
                  <a:pt x="7845593" y="6420002"/>
                  <a:pt x="7881353" y="6405591"/>
                </a:cubicBezTo>
                <a:lnTo>
                  <a:pt x="7881886" y="6405591"/>
                </a:lnTo>
                <a:lnTo>
                  <a:pt x="7881886" y="6544360"/>
                </a:lnTo>
                <a:cubicBezTo>
                  <a:pt x="7881886" y="6561440"/>
                  <a:pt x="7891493" y="6575850"/>
                  <a:pt x="7907505" y="6582789"/>
                </a:cubicBezTo>
                <a:cubicBezTo>
                  <a:pt x="7923517" y="6589193"/>
                  <a:pt x="7940596" y="6585991"/>
                  <a:pt x="7952339" y="6573715"/>
                </a:cubicBezTo>
                <a:lnTo>
                  <a:pt x="8157824" y="6368230"/>
                </a:lnTo>
                <a:cubicBezTo>
                  <a:pt x="8196786" y="6331936"/>
                  <a:pt x="8219736" y="6279631"/>
                  <a:pt x="8219736" y="6224657"/>
                </a:cubicBezTo>
                <a:cubicBezTo>
                  <a:pt x="8219736" y="6117377"/>
                  <a:pt x="8132205" y="6029846"/>
                  <a:pt x="8024926" y="6029846"/>
                </a:cubicBezTo>
                <a:cubicBezTo>
                  <a:pt x="7986497" y="6029846"/>
                  <a:pt x="7949136" y="6041054"/>
                  <a:pt x="7917112" y="6062403"/>
                </a:cubicBezTo>
                <a:cubicBezTo>
                  <a:pt x="7885089" y="6041054"/>
                  <a:pt x="7847728" y="6029846"/>
                  <a:pt x="7809299" y="6029846"/>
                </a:cubicBezTo>
                <a:close/>
                <a:moveTo>
                  <a:pt x="9067831" y="5969001"/>
                </a:moveTo>
                <a:lnTo>
                  <a:pt x="9067831" y="6380506"/>
                </a:lnTo>
                <a:lnTo>
                  <a:pt x="9138283" y="6380506"/>
                </a:lnTo>
                <a:lnTo>
                  <a:pt x="9138283" y="6338341"/>
                </a:lnTo>
                <a:cubicBezTo>
                  <a:pt x="9154829" y="6366629"/>
                  <a:pt x="9196460" y="6386910"/>
                  <a:pt x="9237557" y="6386910"/>
                </a:cubicBezTo>
                <a:cubicBezTo>
                  <a:pt x="9321352" y="6386910"/>
                  <a:pt x="9387001" y="6315391"/>
                  <a:pt x="9387001" y="6224657"/>
                </a:cubicBezTo>
                <a:cubicBezTo>
                  <a:pt x="9387001" y="6134457"/>
                  <a:pt x="9321352" y="6062937"/>
                  <a:pt x="9237557" y="6062937"/>
                </a:cubicBezTo>
                <a:cubicBezTo>
                  <a:pt x="9195926" y="6062937"/>
                  <a:pt x="9154829" y="6083753"/>
                  <a:pt x="9138283" y="6111507"/>
                </a:cubicBezTo>
                <a:lnTo>
                  <a:pt x="9138283" y="5969001"/>
                </a:lnTo>
                <a:close/>
                <a:moveTo>
                  <a:pt x="8732115" y="5969001"/>
                </a:moveTo>
                <a:lnTo>
                  <a:pt x="8732115" y="6380506"/>
                </a:lnTo>
                <a:lnTo>
                  <a:pt x="8802567" y="6380506"/>
                </a:lnTo>
                <a:lnTo>
                  <a:pt x="8802567" y="6233730"/>
                </a:lnTo>
                <a:lnTo>
                  <a:pt x="8934932" y="6380506"/>
                </a:lnTo>
                <a:lnTo>
                  <a:pt x="8934932" y="6379972"/>
                </a:lnTo>
                <a:lnTo>
                  <a:pt x="9026733" y="6379972"/>
                </a:lnTo>
                <a:lnTo>
                  <a:pt x="8874087" y="6218252"/>
                </a:lnTo>
                <a:lnTo>
                  <a:pt x="9017126" y="6068808"/>
                </a:lnTo>
                <a:lnTo>
                  <a:pt x="8928527" y="6068808"/>
                </a:lnTo>
                <a:lnTo>
                  <a:pt x="8802567" y="6203308"/>
                </a:lnTo>
                <a:lnTo>
                  <a:pt x="8802567" y="5969001"/>
                </a:lnTo>
                <a:close/>
                <a:moveTo>
                  <a:pt x="4423851" y="0"/>
                </a:moveTo>
                <a:lnTo>
                  <a:pt x="10297500" y="0"/>
                </a:lnTo>
                <a:lnTo>
                  <a:pt x="10297500" y="6858001"/>
                </a:lnTo>
                <a:lnTo>
                  <a:pt x="0" y="6858001"/>
                </a:lnTo>
                <a:lnTo>
                  <a:pt x="3068606" y="3789408"/>
                </a:lnTo>
                <a:cubicBezTo>
                  <a:pt x="3713828" y="3188384"/>
                  <a:pt x="4093877" y="2322200"/>
                  <a:pt x="4093877" y="1411818"/>
                </a:cubicBezTo>
                <a:cubicBezTo>
                  <a:pt x="4093877" y="967676"/>
                  <a:pt x="4003281" y="543974"/>
                  <a:pt x="3839628" y="158252"/>
                </a:cubicBezTo>
                <a:lnTo>
                  <a:pt x="3763191" y="2"/>
                </a:lnTo>
                <a:lnTo>
                  <a:pt x="4423851" y="2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dirty="0"/>
              <a:t>Bild durch Klicken hinzufügen</a:t>
            </a: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2A2B5D42-8562-473C-BD86-A5278FFF3471}"/>
              </a:ext>
            </a:extLst>
          </p:cNvPr>
          <p:cNvSpPr>
            <a:spLocks/>
          </p:cNvSpPr>
          <p:nvPr userDrawn="1"/>
        </p:nvSpPr>
        <p:spPr bwMode="gray">
          <a:xfrm>
            <a:off x="0" y="-1"/>
            <a:ext cx="6318351" cy="6858001"/>
          </a:xfrm>
          <a:custGeom>
            <a:avLst/>
            <a:gdLst>
              <a:gd name="connsiteX0" fmla="*/ 0 w 6318351"/>
              <a:gd name="connsiteY0" fmla="*/ 0 h 6858001"/>
              <a:gd name="connsiteX1" fmla="*/ 6318351 w 6318351"/>
              <a:gd name="connsiteY1" fmla="*/ 0 h 6858001"/>
              <a:gd name="connsiteX2" fmla="*/ 6318351 w 6318351"/>
              <a:gd name="connsiteY2" fmla="*/ 1 h 6858001"/>
              <a:gd name="connsiteX3" fmla="*/ 5657690 w 6318351"/>
              <a:gd name="connsiteY3" fmla="*/ 1 h 6858001"/>
              <a:gd name="connsiteX4" fmla="*/ 5734128 w 6318351"/>
              <a:gd name="connsiteY4" fmla="*/ 158251 h 6858001"/>
              <a:gd name="connsiteX5" fmla="*/ 5988377 w 6318351"/>
              <a:gd name="connsiteY5" fmla="*/ 1411817 h 6858001"/>
              <a:gd name="connsiteX6" fmla="*/ 4963106 w 6318351"/>
              <a:gd name="connsiteY6" fmla="*/ 3789408 h 6858001"/>
              <a:gd name="connsiteX7" fmla="*/ 1894499 w 6318351"/>
              <a:gd name="connsiteY7" fmla="*/ 6858001 h 6858001"/>
              <a:gd name="connsiteX8" fmla="*/ 0 w 6318351"/>
              <a:gd name="connsiteY8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18351" h="6858001">
                <a:moveTo>
                  <a:pt x="0" y="0"/>
                </a:moveTo>
                <a:lnTo>
                  <a:pt x="6318351" y="0"/>
                </a:lnTo>
                <a:lnTo>
                  <a:pt x="6318351" y="1"/>
                </a:lnTo>
                <a:lnTo>
                  <a:pt x="5657690" y="1"/>
                </a:lnTo>
                <a:lnTo>
                  <a:pt x="5734128" y="158251"/>
                </a:lnTo>
                <a:cubicBezTo>
                  <a:pt x="5897781" y="543974"/>
                  <a:pt x="5988377" y="967676"/>
                  <a:pt x="5988377" y="1411817"/>
                </a:cubicBezTo>
                <a:cubicBezTo>
                  <a:pt x="5988377" y="2322199"/>
                  <a:pt x="5608328" y="3188383"/>
                  <a:pt x="4963106" y="3789408"/>
                </a:cubicBezTo>
                <a:lnTo>
                  <a:pt x="1894499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639FB5-612E-4C65-B977-BF5AD9731AC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23889" y="836614"/>
            <a:ext cx="4583111" cy="1354217"/>
          </a:xfrm>
        </p:spPr>
        <p:txBody>
          <a:bodyPr vert="horz" anchor="b">
            <a:noAutofit/>
          </a:bodyPr>
          <a:lstStyle>
            <a:lvl1pPr algn="l" rtl="0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DCD785-4613-4BA9-918A-655171771830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623888" y="2278487"/>
            <a:ext cx="4583111" cy="246221"/>
          </a:xfrm>
        </p:spPr>
        <p:txBody>
          <a:bodyPr>
            <a:noAutofit/>
          </a:bodyPr>
          <a:lstStyle>
            <a:lvl1pPr marL="0" indent="0" algn="l" rtl="0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FEC9E79-0FE1-4087-AECD-23E103FD27E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23888" y="6258639"/>
            <a:ext cx="1023937" cy="123111"/>
          </a:xfrm>
          <a:prstGeom prst="rect">
            <a:avLst/>
          </a:prstGeom>
          <a:noFill/>
        </p:spPr>
        <p:txBody>
          <a:bodyPr wrap="square" lIns="0" tIns="0" rIns="0" bIns="0" anchor="b">
            <a:noAutofit/>
          </a:bodyPr>
          <a:lstStyle/>
          <a:p>
            <a:pPr rtl="0">
              <a:buClr>
                <a:schemeClr val="tx1"/>
              </a:buClr>
              <a:buSzPct val="100000"/>
            </a:pPr>
            <a:r>
              <a:rPr lang="de-DE" sz="800" dirty="0">
                <a:solidFill>
                  <a:schemeClr val="bg1"/>
                </a:solidFill>
                <a:latin typeface="Hellix" pitchFamily="50" charset="0"/>
                <a:cs typeface="Hellix" pitchFamily="50" charset="0"/>
                <a:sym typeface="+mn-lt"/>
              </a:rPr>
              <a:t>skbs.de</a:t>
            </a:r>
          </a:p>
        </p:txBody>
      </p:sp>
    </p:spTree>
    <p:extLst>
      <p:ext uri="{BB962C8B-B14F-4D97-AF65-F5344CB8AC3E}">
        <p14:creationId xmlns:p14="http://schemas.microsoft.com/office/powerpoint/2010/main" val="4191310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BAD996-C5E8-4FA2-BF2B-3C5C7158B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85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BAD996-C5E8-4FA2-BF2B-3C5C7158B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18916A8F-37E8-46A2-91BA-19731566462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894501" y="-1"/>
            <a:ext cx="10297500" cy="6858001"/>
          </a:xfrm>
          <a:custGeom>
            <a:avLst/>
            <a:gdLst>
              <a:gd name="connsiteX0" fmla="*/ 9222612 w 10297500"/>
              <a:gd name="connsiteY0" fmla="*/ 6130721 h 6858001"/>
              <a:gd name="connsiteX1" fmla="*/ 9316549 w 10297500"/>
              <a:gd name="connsiteY1" fmla="*/ 6224657 h 6858001"/>
              <a:gd name="connsiteX2" fmla="*/ 9222612 w 10297500"/>
              <a:gd name="connsiteY2" fmla="*/ 6319661 h 6858001"/>
              <a:gd name="connsiteX3" fmla="*/ 9137749 w 10297500"/>
              <a:gd name="connsiteY3" fmla="*/ 6273226 h 6858001"/>
              <a:gd name="connsiteX4" fmla="*/ 9137749 w 10297500"/>
              <a:gd name="connsiteY4" fmla="*/ 6177689 h 6858001"/>
              <a:gd name="connsiteX5" fmla="*/ 9222612 w 10297500"/>
              <a:gd name="connsiteY5" fmla="*/ 6130721 h 6858001"/>
              <a:gd name="connsiteX6" fmla="*/ 7812502 w 10297500"/>
              <a:gd name="connsiteY6" fmla="*/ 6101366 h 6858001"/>
              <a:gd name="connsiteX7" fmla="*/ 7894696 w 10297500"/>
              <a:gd name="connsiteY7" fmla="*/ 6136058 h 6858001"/>
              <a:gd name="connsiteX8" fmla="*/ 7916579 w 10297500"/>
              <a:gd name="connsiteY8" fmla="*/ 6155272 h 6858001"/>
              <a:gd name="connsiteX9" fmla="*/ 7938462 w 10297500"/>
              <a:gd name="connsiteY9" fmla="*/ 6136058 h 6858001"/>
              <a:gd name="connsiteX10" fmla="*/ 8020656 w 10297500"/>
              <a:gd name="connsiteY10" fmla="*/ 6101366 h 6858001"/>
              <a:gd name="connsiteX11" fmla="*/ 8110856 w 10297500"/>
              <a:gd name="connsiteY11" fmla="*/ 6136058 h 6858001"/>
              <a:gd name="connsiteX12" fmla="*/ 8148751 w 10297500"/>
              <a:gd name="connsiteY12" fmla="*/ 6225191 h 6858001"/>
              <a:gd name="connsiteX13" fmla="*/ 8108187 w 10297500"/>
              <a:gd name="connsiteY13" fmla="*/ 6316992 h 6858001"/>
              <a:gd name="connsiteX14" fmla="*/ 7951271 w 10297500"/>
              <a:gd name="connsiteY14" fmla="*/ 6473908 h 6858001"/>
              <a:gd name="connsiteX15" fmla="*/ 7951271 w 10297500"/>
              <a:gd name="connsiteY15" fmla="*/ 6267355 h 6858001"/>
              <a:gd name="connsiteX16" fmla="*/ 7893628 w 10297500"/>
              <a:gd name="connsiteY16" fmla="*/ 6315391 h 6858001"/>
              <a:gd name="connsiteX17" fmla="*/ 7823710 w 10297500"/>
              <a:gd name="connsiteY17" fmla="*/ 6348482 h 6858001"/>
              <a:gd name="connsiteX18" fmla="*/ 7726038 w 10297500"/>
              <a:gd name="connsiteY18" fmla="*/ 6318059 h 6858001"/>
              <a:gd name="connsiteX19" fmla="*/ 7684407 w 10297500"/>
              <a:gd name="connsiteY19" fmla="*/ 6225191 h 6858001"/>
              <a:gd name="connsiteX20" fmla="*/ 7722302 w 10297500"/>
              <a:gd name="connsiteY20" fmla="*/ 6136058 h 6858001"/>
              <a:gd name="connsiteX21" fmla="*/ 7812502 w 10297500"/>
              <a:gd name="connsiteY21" fmla="*/ 6101366 h 6858001"/>
              <a:gd name="connsiteX22" fmla="*/ 9547652 w 10297500"/>
              <a:gd name="connsiteY22" fmla="*/ 6062937 h 6858001"/>
              <a:gd name="connsiteX23" fmla="*/ 9426496 w 10297500"/>
              <a:gd name="connsiteY23" fmla="*/ 6161143 h 6858001"/>
              <a:gd name="connsiteX24" fmla="*/ 9599424 w 10297500"/>
              <a:gd name="connsiteY24" fmla="*/ 6293508 h 6858001"/>
              <a:gd name="connsiteX25" fmla="*/ 9547652 w 10297500"/>
              <a:gd name="connsiteY25" fmla="*/ 6327666 h 6858001"/>
              <a:gd name="connsiteX26" fmla="*/ 9442508 w 10297500"/>
              <a:gd name="connsiteY26" fmla="*/ 6288704 h 6858001"/>
              <a:gd name="connsiteX27" fmla="*/ 9414754 w 10297500"/>
              <a:gd name="connsiteY27" fmla="*/ 6342077 h 6858001"/>
              <a:gd name="connsiteX28" fmla="*/ 9550321 w 10297500"/>
              <a:gd name="connsiteY28" fmla="*/ 6387444 h 6858001"/>
              <a:gd name="connsiteX29" fmla="*/ 9672011 w 10297500"/>
              <a:gd name="connsiteY29" fmla="*/ 6290839 h 6858001"/>
              <a:gd name="connsiteX30" fmla="*/ 9497482 w 10297500"/>
              <a:gd name="connsiteY30" fmla="*/ 6155272 h 6858001"/>
              <a:gd name="connsiteX31" fmla="*/ 9540714 w 10297500"/>
              <a:gd name="connsiteY31" fmla="*/ 6122181 h 6858001"/>
              <a:gd name="connsiteX32" fmla="*/ 9636251 w 10297500"/>
              <a:gd name="connsiteY32" fmla="*/ 6155272 h 6858001"/>
              <a:gd name="connsiteX33" fmla="*/ 9664005 w 10297500"/>
              <a:gd name="connsiteY33" fmla="*/ 6100298 h 6858001"/>
              <a:gd name="connsiteX34" fmla="*/ 9547652 w 10297500"/>
              <a:gd name="connsiteY34" fmla="*/ 6062937 h 6858001"/>
              <a:gd name="connsiteX35" fmla="*/ 8558653 w 10297500"/>
              <a:gd name="connsiteY35" fmla="*/ 6062937 h 6858001"/>
              <a:gd name="connsiteX36" fmla="*/ 8437497 w 10297500"/>
              <a:gd name="connsiteY36" fmla="*/ 6161143 h 6858001"/>
              <a:gd name="connsiteX37" fmla="*/ 8610425 w 10297500"/>
              <a:gd name="connsiteY37" fmla="*/ 6293508 h 6858001"/>
              <a:gd name="connsiteX38" fmla="*/ 8558653 w 10297500"/>
              <a:gd name="connsiteY38" fmla="*/ 6327666 h 6858001"/>
              <a:gd name="connsiteX39" fmla="*/ 8453509 w 10297500"/>
              <a:gd name="connsiteY39" fmla="*/ 6288704 h 6858001"/>
              <a:gd name="connsiteX40" fmla="*/ 8425755 w 10297500"/>
              <a:gd name="connsiteY40" fmla="*/ 6342077 h 6858001"/>
              <a:gd name="connsiteX41" fmla="*/ 8561322 w 10297500"/>
              <a:gd name="connsiteY41" fmla="*/ 6387444 h 6858001"/>
              <a:gd name="connsiteX42" fmla="*/ 8683012 w 10297500"/>
              <a:gd name="connsiteY42" fmla="*/ 6290839 h 6858001"/>
              <a:gd name="connsiteX43" fmla="*/ 8508483 w 10297500"/>
              <a:gd name="connsiteY43" fmla="*/ 6155272 h 6858001"/>
              <a:gd name="connsiteX44" fmla="*/ 8551715 w 10297500"/>
              <a:gd name="connsiteY44" fmla="*/ 6122181 h 6858001"/>
              <a:gd name="connsiteX45" fmla="*/ 8647252 w 10297500"/>
              <a:gd name="connsiteY45" fmla="*/ 6155272 h 6858001"/>
              <a:gd name="connsiteX46" fmla="*/ 8675006 w 10297500"/>
              <a:gd name="connsiteY46" fmla="*/ 6100298 h 6858001"/>
              <a:gd name="connsiteX47" fmla="*/ 8558653 w 10297500"/>
              <a:gd name="connsiteY47" fmla="*/ 6062937 h 6858001"/>
              <a:gd name="connsiteX48" fmla="*/ 7809299 w 10297500"/>
              <a:gd name="connsiteY48" fmla="*/ 6029846 h 6858001"/>
              <a:gd name="connsiteX49" fmla="*/ 7730307 w 10297500"/>
              <a:gd name="connsiteY49" fmla="*/ 6046392 h 6858001"/>
              <a:gd name="connsiteX50" fmla="*/ 7666794 w 10297500"/>
              <a:gd name="connsiteY50" fmla="*/ 6091759 h 6858001"/>
              <a:gd name="connsiteX51" fmla="*/ 7615022 w 10297500"/>
              <a:gd name="connsiteY51" fmla="*/ 6238534 h 6858001"/>
              <a:gd name="connsiteX52" fmla="*/ 7769270 w 10297500"/>
              <a:gd name="connsiteY52" fmla="*/ 6415198 h 6858001"/>
              <a:gd name="connsiteX53" fmla="*/ 7881353 w 10297500"/>
              <a:gd name="connsiteY53" fmla="*/ 6405591 h 6858001"/>
              <a:gd name="connsiteX54" fmla="*/ 7881886 w 10297500"/>
              <a:gd name="connsiteY54" fmla="*/ 6405591 h 6858001"/>
              <a:gd name="connsiteX55" fmla="*/ 7881886 w 10297500"/>
              <a:gd name="connsiteY55" fmla="*/ 6544360 h 6858001"/>
              <a:gd name="connsiteX56" fmla="*/ 7907505 w 10297500"/>
              <a:gd name="connsiteY56" fmla="*/ 6582789 h 6858001"/>
              <a:gd name="connsiteX57" fmla="*/ 7952339 w 10297500"/>
              <a:gd name="connsiteY57" fmla="*/ 6573715 h 6858001"/>
              <a:gd name="connsiteX58" fmla="*/ 8157824 w 10297500"/>
              <a:gd name="connsiteY58" fmla="*/ 6368230 h 6858001"/>
              <a:gd name="connsiteX59" fmla="*/ 8219736 w 10297500"/>
              <a:gd name="connsiteY59" fmla="*/ 6224657 h 6858001"/>
              <a:gd name="connsiteX60" fmla="*/ 8024926 w 10297500"/>
              <a:gd name="connsiteY60" fmla="*/ 6029846 h 6858001"/>
              <a:gd name="connsiteX61" fmla="*/ 7917112 w 10297500"/>
              <a:gd name="connsiteY61" fmla="*/ 6062403 h 6858001"/>
              <a:gd name="connsiteX62" fmla="*/ 7809299 w 10297500"/>
              <a:gd name="connsiteY62" fmla="*/ 6029846 h 6858001"/>
              <a:gd name="connsiteX63" fmla="*/ 9067831 w 10297500"/>
              <a:gd name="connsiteY63" fmla="*/ 5969001 h 6858001"/>
              <a:gd name="connsiteX64" fmla="*/ 9067831 w 10297500"/>
              <a:gd name="connsiteY64" fmla="*/ 6380506 h 6858001"/>
              <a:gd name="connsiteX65" fmla="*/ 9138283 w 10297500"/>
              <a:gd name="connsiteY65" fmla="*/ 6380506 h 6858001"/>
              <a:gd name="connsiteX66" fmla="*/ 9138283 w 10297500"/>
              <a:gd name="connsiteY66" fmla="*/ 6338341 h 6858001"/>
              <a:gd name="connsiteX67" fmla="*/ 9237557 w 10297500"/>
              <a:gd name="connsiteY67" fmla="*/ 6386910 h 6858001"/>
              <a:gd name="connsiteX68" fmla="*/ 9387001 w 10297500"/>
              <a:gd name="connsiteY68" fmla="*/ 6224657 h 6858001"/>
              <a:gd name="connsiteX69" fmla="*/ 9237557 w 10297500"/>
              <a:gd name="connsiteY69" fmla="*/ 6062937 h 6858001"/>
              <a:gd name="connsiteX70" fmla="*/ 9138283 w 10297500"/>
              <a:gd name="connsiteY70" fmla="*/ 6111507 h 6858001"/>
              <a:gd name="connsiteX71" fmla="*/ 9138283 w 10297500"/>
              <a:gd name="connsiteY71" fmla="*/ 5969001 h 6858001"/>
              <a:gd name="connsiteX72" fmla="*/ 8732115 w 10297500"/>
              <a:gd name="connsiteY72" fmla="*/ 5969001 h 6858001"/>
              <a:gd name="connsiteX73" fmla="*/ 8732115 w 10297500"/>
              <a:gd name="connsiteY73" fmla="*/ 6380506 h 6858001"/>
              <a:gd name="connsiteX74" fmla="*/ 8802567 w 10297500"/>
              <a:gd name="connsiteY74" fmla="*/ 6380506 h 6858001"/>
              <a:gd name="connsiteX75" fmla="*/ 8802567 w 10297500"/>
              <a:gd name="connsiteY75" fmla="*/ 6233730 h 6858001"/>
              <a:gd name="connsiteX76" fmla="*/ 8934932 w 10297500"/>
              <a:gd name="connsiteY76" fmla="*/ 6380506 h 6858001"/>
              <a:gd name="connsiteX77" fmla="*/ 8934932 w 10297500"/>
              <a:gd name="connsiteY77" fmla="*/ 6379972 h 6858001"/>
              <a:gd name="connsiteX78" fmla="*/ 9026733 w 10297500"/>
              <a:gd name="connsiteY78" fmla="*/ 6379972 h 6858001"/>
              <a:gd name="connsiteX79" fmla="*/ 8874087 w 10297500"/>
              <a:gd name="connsiteY79" fmla="*/ 6218252 h 6858001"/>
              <a:gd name="connsiteX80" fmla="*/ 9017126 w 10297500"/>
              <a:gd name="connsiteY80" fmla="*/ 6068808 h 6858001"/>
              <a:gd name="connsiteX81" fmla="*/ 8928527 w 10297500"/>
              <a:gd name="connsiteY81" fmla="*/ 6068808 h 6858001"/>
              <a:gd name="connsiteX82" fmla="*/ 8802567 w 10297500"/>
              <a:gd name="connsiteY82" fmla="*/ 6203308 h 6858001"/>
              <a:gd name="connsiteX83" fmla="*/ 8802567 w 10297500"/>
              <a:gd name="connsiteY83" fmla="*/ 5969001 h 6858001"/>
              <a:gd name="connsiteX84" fmla="*/ 4423851 w 10297500"/>
              <a:gd name="connsiteY84" fmla="*/ 0 h 6858001"/>
              <a:gd name="connsiteX85" fmla="*/ 10297500 w 10297500"/>
              <a:gd name="connsiteY85" fmla="*/ 0 h 6858001"/>
              <a:gd name="connsiteX86" fmla="*/ 10297500 w 10297500"/>
              <a:gd name="connsiteY86" fmla="*/ 6858001 h 6858001"/>
              <a:gd name="connsiteX87" fmla="*/ 0 w 10297500"/>
              <a:gd name="connsiteY87" fmla="*/ 6858001 h 6858001"/>
              <a:gd name="connsiteX88" fmla="*/ 3068606 w 10297500"/>
              <a:gd name="connsiteY88" fmla="*/ 3789408 h 6858001"/>
              <a:gd name="connsiteX89" fmla="*/ 4093877 w 10297500"/>
              <a:gd name="connsiteY89" fmla="*/ 1411818 h 6858001"/>
              <a:gd name="connsiteX90" fmla="*/ 3839628 w 10297500"/>
              <a:gd name="connsiteY90" fmla="*/ 158252 h 6858001"/>
              <a:gd name="connsiteX91" fmla="*/ 3763191 w 10297500"/>
              <a:gd name="connsiteY91" fmla="*/ 2 h 6858001"/>
              <a:gd name="connsiteX92" fmla="*/ 4423851 w 10297500"/>
              <a:gd name="connsiteY92" fmla="*/ 2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10297500" h="6858001">
                <a:moveTo>
                  <a:pt x="9222612" y="6130721"/>
                </a:moveTo>
                <a:cubicBezTo>
                  <a:pt x="9275985" y="6130721"/>
                  <a:pt x="9316549" y="6170750"/>
                  <a:pt x="9316549" y="6224657"/>
                </a:cubicBezTo>
                <a:cubicBezTo>
                  <a:pt x="9316549" y="6278564"/>
                  <a:pt x="9275985" y="6319127"/>
                  <a:pt x="9222612" y="6319661"/>
                </a:cubicBezTo>
                <a:cubicBezTo>
                  <a:pt x="9187386" y="6319661"/>
                  <a:pt x="9153228" y="6299913"/>
                  <a:pt x="9137749" y="6273226"/>
                </a:cubicBezTo>
                <a:lnTo>
                  <a:pt x="9137749" y="6177689"/>
                </a:lnTo>
                <a:cubicBezTo>
                  <a:pt x="9153228" y="6150469"/>
                  <a:pt x="9186852" y="6130721"/>
                  <a:pt x="9222612" y="6130721"/>
                </a:cubicBezTo>
                <a:close/>
                <a:moveTo>
                  <a:pt x="7812502" y="6101366"/>
                </a:moveTo>
                <a:cubicBezTo>
                  <a:pt x="7845059" y="6102433"/>
                  <a:pt x="7876015" y="6120046"/>
                  <a:pt x="7894696" y="6136058"/>
                </a:cubicBezTo>
                <a:cubicBezTo>
                  <a:pt x="7911241" y="6151002"/>
                  <a:pt x="7915511" y="6154738"/>
                  <a:pt x="7916579" y="6155272"/>
                </a:cubicBezTo>
                <a:cubicBezTo>
                  <a:pt x="7917646" y="6154205"/>
                  <a:pt x="7921916" y="6150469"/>
                  <a:pt x="7938462" y="6136058"/>
                </a:cubicBezTo>
                <a:cubicBezTo>
                  <a:pt x="7964081" y="6113641"/>
                  <a:pt x="7991301" y="6102433"/>
                  <a:pt x="8020656" y="6101366"/>
                </a:cubicBezTo>
                <a:cubicBezTo>
                  <a:pt x="8054814" y="6100298"/>
                  <a:pt x="8086838" y="6112574"/>
                  <a:pt x="8110856" y="6136058"/>
                </a:cubicBezTo>
                <a:cubicBezTo>
                  <a:pt x="8135407" y="6159542"/>
                  <a:pt x="8148751" y="6191566"/>
                  <a:pt x="8148751" y="6225191"/>
                </a:cubicBezTo>
                <a:cubicBezTo>
                  <a:pt x="8149284" y="6259883"/>
                  <a:pt x="8135941" y="6289238"/>
                  <a:pt x="8108187" y="6316992"/>
                </a:cubicBezTo>
                <a:cubicBezTo>
                  <a:pt x="8080433" y="6344746"/>
                  <a:pt x="7951271" y="6473908"/>
                  <a:pt x="7951271" y="6473908"/>
                </a:cubicBezTo>
                <a:lnTo>
                  <a:pt x="7951271" y="6267355"/>
                </a:lnTo>
                <a:cubicBezTo>
                  <a:pt x="7945934" y="6271625"/>
                  <a:pt x="7913910" y="6299379"/>
                  <a:pt x="7893628" y="6315391"/>
                </a:cubicBezTo>
                <a:cubicBezTo>
                  <a:pt x="7869611" y="6334071"/>
                  <a:pt x="7850930" y="6345280"/>
                  <a:pt x="7823710" y="6348482"/>
                </a:cubicBezTo>
                <a:cubicBezTo>
                  <a:pt x="7788484" y="6352752"/>
                  <a:pt x="7752724" y="6341543"/>
                  <a:pt x="7726038" y="6318059"/>
                </a:cubicBezTo>
                <a:cubicBezTo>
                  <a:pt x="7699351" y="6294575"/>
                  <a:pt x="7684407" y="6260417"/>
                  <a:pt x="7684407" y="6225191"/>
                </a:cubicBezTo>
                <a:cubicBezTo>
                  <a:pt x="7684407" y="6191566"/>
                  <a:pt x="7697750" y="6159542"/>
                  <a:pt x="7722302" y="6136058"/>
                </a:cubicBezTo>
                <a:cubicBezTo>
                  <a:pt x="7746853" y="6112574"/>
                  <a:pt x="7778877" y="6100298"/>
                  <a:pt x="7812502" y="6101366"/>
                </a:cubicBezTo>
                <a:close/>
                <a:moveTo>
                  <a:pt x="9547652" y="6062937"/>
                </a:moveTo>
                <a:cubicBezTo>
                  <a:pt x="9476133" y="6062937"/>
                  <a:pt x="9426496" y="6103500"/>
                  <a:pt x="9426496" y="6161143"/>
                </a:cubicBezTo>
                <a:cubicBezTo>
                  <a:pt x="9426496" y="6276428"/>
                  <a:pt x="9599424" y="6236399"/>
                  <a:pt x="9599424" y="6293508"/>
                </a:cubicBezTo>
                <a:cubicBezTo>
                  <a:pt x="9599424" y="6313256"/>
                  <a:pt x="9578609" y="6327666"/>
                  <a:pt x="9547652" y="6327666"/>
                </a:cubicBezTo>
                <a:cubicBezTo>
                  <a:pt x="9512426" y="6327666"/>
                  <a:pt x="9466526" y="6311654"/>
                  <a:pt x="9442508" y="6288704"/>
                </a:cubicBezTo>
                <a:lnTo>
                  <a:pt x="9414754" y="6342077"/>
                </a:lnTo>
                <a:cubicBezTo>
                  <a:pt x="9445177" y="6369831"/>
                  <a:pt x="9499083" y="6387444"/>
                  <a:pt x="9550321" y="6387444"/>
                </a:cubicBezTo>
                <a:cubicBezTo>
                  <a:pt x="9621841" y="6387444"/>
                  <a:pt x="9672011" y="6346881"/>
                  <a:pt x="9672011" y="6290839"/>
                </a:cubicBezTo>
                <a:cubicBezTo>
                  <a:pt x="9672011" y="6175554"/>
                  <a:pt x="9497482" y="6208111"/>
                  <a:pt x="9497482" y="6155272"/>
                </a:cubicBezTo>
                <a:cubicBezTo>
                  <a:pt x="9497482" y="6134990"/>
                  <a:pt x="9514561" y="6122181"/>
                  <a:pt x="9540714" y="6122181"/>
                </a:cubicBezTo>
                <a:cubicBezTo>
                  <a:pt x="9566867" y="6122181"/>
                  <a:pt x="9611700" y="6133389"/>
                  <a:pt x="9636251" y="6155272"/>
                </a:cubicBezTo>
                <a:lnTo>
                  <a:pt x="9664005" y="6100298"/>
                </a:lnTo>
                <a:cubicBezTo>
                  <a:pt x="9636251" y="6075213"/>
                  <a:pt x="9590884" y="6062937"/>
                  <a:pt x="9547652" y="6062937"/>
                </a:cubicBezTo>
                <a:close/>
                <a:moveTo>
                  <a:pt x="8558653" y="6062937"/>
                </a:moveTo>
                <a:cubicBezTo>
                  <a:pt x="8487134" y="6062937"/>
                  <a:pt x="8437497" y="6103500"/>
                  <a:pt x="8437497" y="6161143"/>
                </a:cubicBezTo>
                <a:cubicBezTo>
                  <a:pt x="8437497" y="6276428"/>
                  <a:pt x="8610425" y="6236399"/>
                  <a:pt x="8610425" y="6293508"/>
                </a:cubicBezTo>
                <a:cubicBezTo>
                  <a:pt x="8610425" y="6313256"/>
                  <a:pt x="8589610" y="6327666"/>
                  <a:pt x="8558653" y="6327666"/>
                </a:cubicBezTo>
                <a:cubicBezTo>
                  <a:pt x="8523427" y="6327666"/>
                  <a:pt x="8477527" y="6311654"/>
                  <a:pt x="8453509" y="6288704"/>
                </a:cubicBezTo>
                <a:lnTo>
                  <a:pt x="8425755" y="6342077"/>
                </a:lnTo>
                <a:cubicBezTo>
                  <a:pt x="8456711" y="6369831"/>
                  <a:pt x="8510618" y="6387444"/>
                  <a:pt x="8561322" y="6387444"/>
                </a:cubicBezTo>
                <a:cubicBezTo>
                  <a:pt x="8632842" y="6387444"/>
                  <a:pt x="8683012" y="6346881"/>
                  <a:pt x="8683012" y="6290839"/>
                </a:cubicBezTo>
                <a:cubicBezTo>
                  <a:pt x="8683012" y="6175554"/>
                  <a:pt x="8508483" y="6208111"/>
                  <a:pt x="8508483" y="6155272"/>
                </a:cubicBezTo>
                <a:cubicBezTo>
                  <a:pt x="8508483" y="6134990"/>
                  <a:pt x="8525562" y="6122181"/>
                  <a:pt x="8551715" y="6122181"/>
                </a:cubicBezTo>
                <a:cubicBezTo>
                  <a:pt x="8577868" y="6122181"/>
                  <a:pt x="8622701" y="6133389"/>
                  <a:pt x="8647252" y="6155272"/>
                </a:cubicBezTo>
                <a:lnTo>
                  <a:pt x="8675006" y="6100298"/>
                </a:lnTo>
                <a:cubicBezTo>
                  <a:pt x="8647252" y="6075213"/>
                  <a:pt x="8601885" y="6062937"/>
                  <a:pt x="8558653" y="6062937"/>
                </a:cubicBezTo>
                <a:close/>
                <a:moveTo>
                  <a:pt x="7809299" y="6029846"/>
                </a:moveTo>
                <a:cubicBezTo>
                  <a:pt x="7781545" y="6029846"/>
                  <a:pt x="7755393" y="6035717"/>
                  <a:pt x="7730307" y="6046392"/>
                </a:cubicBezTo>
                <a:cubicBezTo>
                  <a:pt x="7706290" y="6057066"/>
                  <a:pt x="7684941" y="6072544"/>
                  <a:pt x="7666794" y="6091759"/>
                </a:cubicBezTo>
                <a:cubicBezTo>
                  <a:pt x="7629433" y="6131788"/>
                  <a:pt x="7611286" y="6184094"/>
                  <a:pt x="7615022" y="6238534"/>
                </a:cubicBezTo>
                <a:cubicBezTo>
                  <a:pt x="7621427" y="6324998"/>
                  <a:pt x="7684407" y="6397585"/>
                  <a:pt x="7769270" y="6415198"/>
                </a:cubicBezTo>
                <a:cubicBezTo>
                  <a:pt x="7807164" y="6423204"/>
                  <a:pt x="7845593" y="6420002"/>
                  <a:pt x="7881353" y="6405591"/>
                </a:cubicBezTo>
                <a:lnTo>
                  <a:pt x="7881886" y="6405591"/>
                </a:lnTo>
                <a:lnTo>
                  <a:pt x="7881886" y="6544360"/>
                </a:lnTo>
                <a:cubicBezTo>
                  <a:pt x="7881886" y="6561440"/>
                  <a:pt x="7891493" y="6575850"/>
                  <a:pt x="7907505" y="6582789"/>
                </a:cubicBezTo>
                <a:cubicBezTo>
                  <a:pt x="7923517" y="6589193"/>
                  <a:pt x="7940596" y="6585991"/>
                  <a:pt x="7952339" y="6573715"/>
                </a:cubicBezTo>
                <a:lnTo>
                  <a:pt x="8157824" y="6368230"/>
                </a:lnTo>
                <a:cubicBezTo>
                  <a:pt x="8196786" y="6331936"/>
                  <a:pt x="8219736" y="6279631"/>
                  <a:pt x="8219736" y="6224657"/>
                </a:cubicBezTo>
                <a:cubicBezTo>
                  <a:pt x="8219736" y="6117377"/>
                  <a:pt x="8132205" y="6029846"/>
                  <a:pt x="8024926" y="6029846"/>
                </a:cubicBezTo>
                <a:cubicBezTo>
                  <a:pt x="7986497" y="6029846"/>
                  <a:pt x="7949136" y="6041054"/>
                  <a:pt x="7917112" y="6062403"/>
                </a:cubicBezTo>
                <a:cubicBezTo>
                  <a:pt x="7885089" y="6041054"/>
                  <a:pt x="7847728" y="6029846"/>
                  <a:pt x="7809299" y="6029846"/>
                </a:cubicBezTo>
                <a:close/>
                <a:moveTo>
                  <a:pt x="9067831" y="5969001"/>
                </a:moveTo>
                <a:lnTo>
                  <a:pt x="9067831" y="6380506"/>
                </a:lnTo>
                <a:lnTo>
                  <a:pt x="9138283" y="6380506"/>
                </a:lnTo>
                <a:lnTo>
                  <a:pt x="9138283" y="6338341"/>
                </a:lnTo>
                <a:cubicBezTo>
                  <a:pt x="9154829" y="6366629"/>
                  <a:pt x="9196460" y="6386910"/>
                  <a:pt x="9237557" y="6386910"/>
                </a:cubicBezTo>
                <a:cubicBezTo>
                  <a:pt x="9321352" y="6386910"/>
                  <a:pt x="9387001" y="6315391"/>
                  <a:pt x="9387001" y="6224657"/>
                </a:cubicBezTo>
                <a:cubicBezTo>
                  <a:pt x="9387001" y="6134457"/>
                  <a:pt x="9321352" y="6062937"/>
                  <a:pt x="9237557" y="6062937"/>
                </a:cubicBezTo>
                <a:cubicBezTo>
                  <a:pt x="9195926" y="6062937"/>
                  <a:pt x="9154829" y="6083753"/>
                  <a:pt x="9138283" y="6111507"/>
                </a:cubicBezTo>
                <a:lnTo>
                  <a:pt x="9138283" y="5969001"/>
                </a:lnTo>
                <a:close/>
                <a:moveTo>
                  <a:pt x="8732115" y="5969001"/>
                </a:moveTo>
                <a:lnTo>
                  <a:pt x="8732115" y="6380506"/>
                </a:lnTo>
                <a:lnTo>
                  <a:pt x="8802567" y="6380506"/>
                </a:lnTo>
                <a:lnTo>
                  <a:pt x="8802567" y="6233730"/>
                </a:lnTo>
                <a:lnTo>
                  <a:pt x="8934932" y="6380506"/>
                </a:lnTo>
                <a:lnTo>
                  <a:pt x="8934932" y="6379972"/>
                </a:lnTo>
                <a:lnTo>
                  <a:pt x="9026733" y="6379972"/>
                </a:lnTo>
                <a:lnTo>
                  <a:pt x="8874087" y="6218252"/>
                </a:lnTo>
                <a:lnTo>
                  <a:pt x="9017126" y="6068808"/>
                </a:lnTo>
                <a:lnTo>
                  <a:pt x="8928527" y="6068808"/>
                </a:lnTo>
                <a:lnTo>
                  <a:pt x="8802567" y="6203308"/>
                </a:lnTo>
                <a:lnTo>
                  <a:pt x="8802567" y="5969001"/>
                </a:lnTo>
                <a:close/>
                <a:moveTo>
                  <a:pt x="4423851" y="0"/>
                </a:moveTo>
                <a:lnTo>
                  <a:pt x="10297500" y="0"/>
                </a:lnTo>
                <a:lnTo>
                  <a:pt x="10297500" y="6858001"/>
                </a:lnTo>
                <a:lnTo>
                  <a:pt x="0" y="6858001"/>
                </a:lnTo>
                <a:lnTo>
                  <a:pt x="3068606" y="3789408"/>
                </a:lnTo>
                <a:cubicBezTo>
                  <a:pt x="3713828" y="3188384"/>
                  <a:pt x="4093877" y="2322200"/>
                  <a:pt x="4093877" y="1411818"/>
                </a:cubicBezTo>
                <a:cubicBezTo>
                  <a:pt x="4093877" y="967676"/>
                  <a:pt x="4003281" y="543974"/>
                  <a:pt x="3839628" y="158252"/>
                </a:cubicBezTo>
                <a:lnTo>
                  <a:pt x="3763191" y="2"/>
                </a:lnTo>
                <a:lnTo>
                  <a:pt x="4423851" y="2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dirty="0"/>
              <a:t>Bild durch Klicken hinzufügen</a:t>
            </a: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2A2B5D42-8562-473C-BD86-A5278FFF3471}"/>
              </a:ext>
            </a:extLst>
          </p:cNvPr>
          <p:cNvSpPr>
            <a:spLocks/>
          </p:cNvSpPr>
          <p:nvPr userDrawn="1"/>
        </p:nvSpPr>
        <p:spPr bwMode="gray">
          <a:xfrm>
            <a:off x="0" y="-1"/>
            <a:ext cx="6318351" cy="6858001"/>
          </a:xfrm>
          <a:custGeom>
            <a:avLst/>
            <a:gdLst>
              <a:gd name="connsiteX0" fmla="*/ 0 w 6318351"/>
              <a:gd name="connsiteY0" fmla="*/ 0 h 6858001"/>
              <a:gd name="connsiteX1" fmla="*/ 6318351 w 6318351"/>
              <a:gd name="connsiteY1" fmla="*/ 0 h 6858001"/>
              <a:gd name="connsiteX2" fmla="*/ 6318351 w 6318351"/>
              <a:gd name="connsiteY2" fmla="*/ 1 h 6858001"/>
              <a:gd name="connsiteX3" fmla="*/ 5657690 w 6318351"/>
              <a:gd name="connsiteY3" fmla="*/ 1 h 6858001"/>
              <a:gd name="connsiteX4" fmla="*/ 5734128 w 6318351"/>
              <a:gd name="connsiteY4" fmla="*/ 158251 h 6858001"/>
              <a:gd name="connsiteX5" fmla="*/ 5988377 w 6318351"/>
              <a:gd name="connsiteY5" fmla="*/ 1411817 h 6858001"/>
              <a:gd name="connsiteX6" fmla="*/ 4963106 w 6318351"/>
              <a:gd name="connsiteY6" fmla="*/ 3789408 h 6858001"/>
              <a:gd name="connsiteX7" fmla="*/ 1894499 w 6318351"/>
              <a:gd name="connsiteY7" fmla="*/ 6858001 h 6858001"/>
              <a:gd name="connsiteX8" fmla="*/ 0 w 6318351"/>
              <a:gd name="connsiteY8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18351" h="6858001">
                <a:moveTo>
                  <a:pt x="0" y="0"/>
                </a:moveTo>
                <a:lnTo>
                  <a:pt x="6318351" y="0"/>
                </a:lnTo>
                <a:lnTo>
                  <a:pt x="6318351" y="1"/>
                </a:lnTo>
                <a:lnTo>
                  <a:pt x="5657690" y="1"/>
                </a:lnTo>
                <a:lnTo>
                  <a:pt x="5734128" y="158251"/>
                </a:lnTo>
                <a:cubicBezTo>
                  <a:pt x="5897781" y="543974"/>
                  <a:pt x="5988377" y="967676"/>
                  <a:pt x="5988377" y="1411817"/>
                </a:cubicBezTo>
                <a:cubicBezTo>
                  <a:pt x="5988377" y="2322199"/>
                  <a:pt x="5608328" y="3188383"/>
                  <a:pt x="4963106" y="3789408"/>
                </a:cubicBezTo>
                <a:lnTo>
                  <a:pt x="1894499" y="6858001"/>
                </a:lnTo>
                <a:lnTo>
                  <a:pt x="0" y="6858001"/>
                </a:lnTo>
                <a:close/>
              </a:path>
            </a:pathLst>
          </a:custGeom>
          <a:solidFill>
            <a:srgbClr val="C8E4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639FB5-612E-4C65-B977-BF5AD9731AC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23889" y="836614"/>
            <a:ext cx="4583111" cy="1354217"/>
          </a:xfrm>
        </p:spPr>
        <p:txBody>
          <a:bodyPr vert="horz" anchor="b">
            <a:noAutofit/>
          </a:bodyPr>
          <a:lstStyle>
            <a:lvl1pPr algn="l" rtl="0"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DCD785-4613-4BA9-918A-655171771830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623888" y="2278487"/>
            <a:ext cx="4583111" cy="246221"/>
          </a:xfrm>
        </p:spPr>
        <p:txBody>
          <a:bodyPr>
            <a:noAutofit/>
          </a:bodyPr>
          <a:lstStyle>
            <a:lvl1pPr marL="0" indent="0" algn="l" rtl="0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FEC9E79-0FE1-4087-AECD-23E103FD27E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23888" y="6258639"/>
            <a:ext cx="1023937" cy="123111"/>
          </a:xfrm>
          <a:prstGeom prst="rect">
            <a:avLst/>
          </a:prstGeom>
          <a:noFill/>
        </p:spPr>
        <p:txBody>
          <a:bodyPr wrap="square" lIns="0" tIns="0" rIns="0" bIns="0" anchor="b">
            <a:noAutofit/>
          </a:bodyPr>
          <a:lstStyle/>
          <a:p>
            <a:pPr rtl="0">
              <a:buClr>
                <a:schemeClr val="tx1"/>
              </a:buClr>
              <a:buSzPct val="100000"/>
            </a:pPr>
            <a:r>
              <a:rPr lang="de-DE" sz="800" dirty="0">
                <a:solidFill>
                  <a:schemeClr val="tx2"/>
                </a:solidFill>
                <a:latin typeface="Hellix" pitchFamily="50" charset="0"/>
                <a:cs typeface="Hellix" pitchFamily="50" charset="0"/>
                <a:sym typeface="+mn-lt"/>
              </a:rPr>
              <a:t>skbs.de</a:t>
            </a:r>
          </a:p>
        </p:txBody>
      </p:sp>
    </p:spTree>
    <p:extLst>
      <p:ext uri="{BB962C8B-B14F-4D97-AF65-F5344CB8AC3E}">
        <p14:creationId xmlns:p14="http://schemas.microsoft.com/office/powerpoint/2010/main" val="37290542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BAD996-C5E8-4FA2-BF2B-3C5C7158B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3578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BAD996-C5E8-4FA2-BF2B-3C5C7158B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534D39CB-EF5E-44E6-B6E8-82E1ED11E3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12191999" cy="6858001"/>
          </a:xfrm>
          <a:custGeom>
            <a:avLst/>
            <a:gdLst>
              <a:gd name="connsiteX0" fmla="*/ 0 w 12191999"/>
              <a:gd name="connsiteY0" fmla="*/ 0 h 6858001"/>
              <a:gd name="connsiteX1" fmla="*/ 12191999 w 12191999"/>
              <a:gd name="connsiteY1" fmla="*/ 0 h 6858001"/>
              <a:gd name="connsiteX2" fmla="*/ 12191999 w 12191999"/>
              <a:gd name="connsiteY2" fmla="*/ 1 h 6858001"/>
              <a:gd name="connsiteX3" fmla="*/ 11244457 w 12191999"/>
              <a:gd name="connsiteY3" fmla="*/ 1 h 6858001"/>
              <a:gd name="connsiteX4" fmla="*/ 11320895 w 12191999"/>
              <a:gd name="connsiteY4" fmla="*/ 158251 h 6858001"/>
              <a:gd name="connsiteX5" fmla="*/ 11575144 w 12191999"/>
              <a:gd name="connsiteY5" fmla="*/ 1411817 h 6858001"/>
              <a:gd name="connsiteX6" fmla="*/ 10549872 w 12191999"/>
              <a:gd name="connsiteY6" fmla="*/ 3789408 h 6858001"/>
              <a:gd name="connsiteX7" fmla="*/ 7481266 w 12191999"/>
              <a:gd name="connsiteY7" fmla="*/ 6858001 h 6858001"/>
              <a:gd name="connsiteX8" fmla="*/ 0 w 12191999"/>
              <a:gd name="connsiteY8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858001">
                <a:moveTo>
                  <a:pt x="0" y="0"/>
                </a:moveTo>
                <a:lnTo>
                  <a:pt x="12191999" y="0"/>
                </a:lnTo>
                <a:lnTo>
                  <a:pt x="12191999" y="1"/>
                </a:lnTo>
                <a:lnTo>
                  <a:pt x="11244457" y="1"/>
                </a:lnTo>
                <a:lnTo>
                  <a:pt x="11320895" y="158251"/>
                </a:lnTo>
                <a:cubicBezTo>
                  <a:pt x="11484548" y="543974"/>
                  <a:pt x="11575144" y="967676"/>
                  <a:pt x="11575144" y="1411817"/>
                </a:cubicBezTo>
                <a:cubicBezTo>
                  <a:pt x="11575144" y="2322199"/>
                  <a:pt x="11195095" y="3188383"/>
                  <a:pt x="10549872" y="3789408"/>
                </a:cubicBezTo>
                <a:lnTo>
                  <a:pt x="7481266" y="6858001"/>
                </a:lnTo>
                <a:lnTo>
                  <a:pt x="0" y="685800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dirty="0"/>
              <a:t>Bild durch Klicken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639FB5-612E-4C65-B977-BF5AD9731AC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23889" y="1503809"/>
            <a:ext cx="4583111" cy="2031325"/>
          </a:xfrm>
        </p:spPr>
        <p:txBody>
          <a:bodyPr vert="horz" anchor="t">
            <a:noAutofit/>
          </a:bodyPr>
          <a:lstStyle>
            <a:lvl1pPr algn="l" rtl="0"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B426E836-961B-46A6-8A61-1C32C078FA84}"/>
              </a:ext>
            </a:extLst>
          </p:cNvPr>
          <p:cNvSpPr/>
          <p:nvPr userDrawn="1"/>
        </p:nvSpPr>
        <p:spPr bwMode="gray">
          <a:xfrm>
            <a:off x="7481266" y="0"/>
            <a:ext cx="4710734" cy="6858000"/>
          </a:xfrm>
          <a:custGeom>
            <a:avLst/>
            <a:gdLst>
              <a:gd name="connsiteX0" fmla="*/ 3763191 w 4710734"/>
              <a:gd name="connsiteY0" fmla="*/ 0 h 6858000"/>
              <a:gd name="connsiteX1" fmla="*/ 4710734 w 4710734"/>
              <a:gd name="connsiteY1" fmla="*/ 0 h 6858000"/>
              <a:gd name="connsiteX2" fmla="*/ 4710734 w 4710734"/>
              <a:gd name="connsiteY2" fmla="*/ 6858000 h 6858000"/>
              <a:gd name="connsiteX3" fmla="*/ 0 w 4710734"/>
              <a:gd name="connsiteY3" fmla="*/ 6858000 h 6858000"/>
              <a:gd name="connsiteX4" fmla="*/ 3068606 w 4710734"/>
              <a:gd name="connsiteY4" fmla="*/ 3789407 h 6858000"/>
              <a:gd name="connsiteX5" fmla="*/ 4093878 w 4710734"/>
              <a:gd name="connsiteY5" fmla="*/ 1411816 h 6858000"/>
              <a:gd name="connsiteX6" fmla="*/ 3839629 w 4710734"/>
              <a:gd name="connsiteY6" fmla="*/ 1582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10734" h="6858000">
                <a:moveTo>
                  <a:pt x="3763191" y="0"/>
                </a:moveTo>
                <a:lnTo>
                  <a:pt x="4710734" y="0"/>
                </a:lnTo>
                <a:lnTo>
                  <a:pt x="4710734" y="6858000"/>
                </a:lnTo>
                <a:lnTo>
                  <a:pt x="0" y="6858000"/>
                </a:lnTo>
                <a:lnTo>
                  <a:pt x="3068606" y="3789407"/>
                </a:lnTo>
                <a:cubicBezTo>
                  <a:pt x="3713829" y="3188382"/>
                  <a:pt x="4093878" y="2322198"/>
                  <a:pt x="4093878" y="1411816"/>
                </a:cubicBezTo>
                <a:cubicBezTo>
                  <a:pt x="4093878" y="967675"/>
                  <a:pt x="4003282" y="543973"/>
                  <a:pt x="3839629" y="1582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EAD4162-4DC3-474A-8B61-6D68B15842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9507922" y="5969000"/>
            <a:ext cx="2060192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6587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BAD996-C5E8-4FA2-BF2B-3C5C7158B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1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BAD996-C5E8-4FA2-BF2B-3C5C7158B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534D39CB-EF5E-44E6-B6E8-82E1ED11E3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12191999" cy="6858001"/>
          </a:xfrm>
          <a:custGeom>
            <a:avLst/>
            <a:gdLst>
              <a:gd name="connsiteX0" fmla="*/ 0 w 12191999"/>
              <a:gd name="connsiteY0" fmla="*/ 0 h 6858001"/>
              <a:gd name="connsiteX1" fmla="*/ 12191999 w 12191999"/>
              <a:gd name="connsiteY1" fmla="*/ 0 h 6858001"/>
              <a:gd name="connsiteX2" fmla="*/ 12191999 w 12191999"/>
              <a:gd name="connsiteY2" fmla="*/ 1 h 6858001"/>
              <a:gd name="connsiteX3" fmla="*/ 11244457 w 12191999"/>
              <a:gd name="connsiteY3" fmla="*/ 1 h 6858001"/>
              <a:gd name="connsiteX4" fmla="*/ 11320895 w 12191999"/>
              <a:gd name="connsiteY4" fmla="*/ 158251 h 6858001"/>
              <a:gd name="connsiteX5" fmla="*/ 11575144 w 12191999"/>
              <a:gd name="connsiteY5" fmla="*/ 1411817 h 6858001"/>
              <a:gd name="connsiteX6" fmla="*/ 10549872 w 12191999"/>
              <a:gd name="connsiteY6" fmla="*/ 3789408 h 6858001"/>
              <a:gd name="connsiteX7" fmla="*/ 7481266 w 12191999"/>
              <a:gd name="connsiteY7" fmla="*/ 6858001 h 6858001"/>
              <a:gd name="connsiteX8" fmla="*/ 0 w 12191999"/>
              <a:gd name="connsiteY8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858001">
                <a:moveTo>
                  <a:pt x="0" y="0"/>
                </a:moveTo>
                <a:lnTo>
                  <a:pt x="12191999" y="0"/>
                </a:lnTo>
                <a:lnTo>
                  <a:pt x="12191999" y="1"/>
                </a:lnTo>
                <a:lnTo>
                  <a:pt x="11244457" y="1"/>
                </a:lnTo>
                <a:lnTo>
                  <a:pt x="11320895" y="158251"/>
                </a:lnTo>
                <a:cubicBezTo>
                  <a:pt x="11484548" y="543974"/>
                  <a:pt x="11575144" y="967676"/>
                  <a:pt x="11575144" y="1411817"/>
                </a:cubicBezTo>
                <a:cubicBezTo>
                  <a:pt x="11575144" y="2322199"/>
                  <a:pt x="11195095" y="3188383"/>
                  <a:pt x="10549872" y="3789408"/>
                </a:cubicBezTo>
                <a:lnTo>
                  <a:pt x="7481266" y="6858001"/>
                </a:lnTo>
                <a:lnTo>
                  <a:pt x="0" y="685800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dirty="0"/>
              <a:t>Bild durch Klicken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639FB5-612E-4C65-B977-BF5AD9731AC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23889" y="1503809"/>
            <a:ext cx="4583111" cy="2031325"/>
          </a:xfrm>
        </p:spPr>
        <p:txBody>
          <a:bodyPr vert="horz" anchor="t">
            <a:noAutofit/>
          </a:bodyPr>
          <a:lstStyle>
            <a:lvl1pPr algn="l" rtl="0"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B426E836-961B-46A6-8A61-1C32C078FA84}"/>
              </a:ext>
            </a:extLst>
          </p:cNvPr>
          <p:cNvSpPr/>
          <p:nvPr userDrawn="1"/>
        </p:nvSpPr>
        <p:spPr bwMode="gray">
          <a:xfrm>
            <a:off x="7481266" y="0"/>
            <a:ext cx="4710734" cy="6858000"/>
          </a:xfrm>
          <a:custGeom>
            <a:avLst/>
            <a:gdLst>
              <a:gd name="connsiteX0" fmla="*/ 3763191 w 4710734"/>
              <a:gd name="connsiteY0" fmla="*/ 0 h 6858000"/>
              <a:gd name="connsiteX1" fmla="*/ 4710734 w 4710734"/>
              <a:gd name="connsiteY1" fmla="*/ 0 h 6858000"/>
              <a:gd name="connsiteX2" fmla="*/ 4710734 w 4710734"/>
              <a:gd name="connsiteY2" fmla="*/ 6858000 h 6858000"/>
              <a:gd name="connsiteX3" fmla="*/ 0 w 4710734"/>
              <a:gd name="connsiteY3" fmla="*/ 6858000 h 6858000"/>
              <a:gd name="connsiteX4" fmla="*/ 3068606 w 4710734"/>
              <a:gd name="connsiteY4" fmla="*/ 3789407 h 6858000"/>
              <a:gd name="connsiteX5" fmla="*/ 4093878 w 4710734"/>
              <a:gd name="connsiteY5" fmla="*/ 1411816 h 6858000"/>
              <a:gd name="connsiteX6" fmla="*/ 3839629 w 4710734"/>
              <a:gd name="connsiteY6" fmla="*/ 1582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10734" h="6858000">
                <a:moveTo>
                  <a:pt x="3763191" y="0"/>
                </a:moveTo>
                <a:lnTo>
                  <a:pt x="4710734" y="0"/>
                </a:lnTo>
                <a:lnTo>
                  <a:pt x="4710734" y="6858000"/>
                </a:lnTo>
                <a:lnTo>
                  <a:pt x="0" y="6858000"/>
                </a:lnTo>
                <a:lnTo>
                  <a:pt x="3068606" y="3789407"/>
                </a:lnTo>
                <a:cubicBezTo>
                  <a:pt x="3713829" y="3188382"/>
                  <a:pt x="4093878" y="2322198"/>
                  <a:pt x="4093878" y="1411816"/>
                </a:cubicBezTo>
                <a:cubicBezTo>
                  <a:pt x="4093878" y="967675"/>
                  <a:pt x="4003282" y="543973"/>
                  <a:pt x="3839629" y="158250"/>
                </a:cubicBezTo>
                <a:close/>
              </a:path>
            </a:pathLst>
          </a:custGeom>
          <a:solidFill>
            <a:srgbClr val="C8E4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EAD4162-4DC3-474A-8B61-6D68B15842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9507922" y="5969000"/>
            <a:ext cx="2060192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694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BAD996-C5E8-4FA2-BF2B-3C5C7158B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3154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BAD996-C5E8-4FA2-BF2B-3C5C7158B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534D39CB-EF5E-44E6-B6E8-82E1ED11E3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12191999" cy="6858001"/>
          </a:xfrm>
          <a:custGeom>
            <a:avLst/>
            <a:gdLst>
              <a:gd name="connsiteX0" fmla="*/ 0 w 12191999"/>
              <a:gd name="connsiteY0" fmla="*/ 0 h 6858001"/>
              <a:gd name="connsiteX1" fmla="*/ 12191999 w 12191999"/>
              <a:gd name="connsiteY1" fmla="*/ 0 h 6858001"/>
              <a:gd name="connsiteX2" fmla="*/ 12191999 w 12191999"/>
              <a:gd name="connsiteY2" fmla="*/ 1 h 6858001"/>
              <a:gd name="connsiteX3" fmla="*/ 11244457 w 12191999"/>
              <a:gd name="connsiteY3" fmla="*/ 1 h 6858001"/>
              <a:gd name="connsiteX4" fmla="*/ 11320895 w 12191999"/>
              <a:gd name="connsiteY4" fmla="*/ 158251 h 6858001"/>
              <a:gd name="connsiteX5" fmla="*/ 11575144 w 12191999"/>
              <a:gd name="connsiteY5" fmla="*/ 1411817 h 6858001"/>
              <a:gd name="connsiteX6" fmla="*/ 10549872 w 12191999"/>
              <a:gd name="connsiteY6" fmla="*/ 3789408 h 6858001"/>
              <a:gd name="connsiteX7" fmla="*/ 7481266 w 12191999"/>
              <a:gd name="connsiteY7" fmla="*/ 6858001 h 6858001"/>
              <a:gd name="connsiteX8" fmla="*/ 0 w 12191999"/>
              <a:gd name="connsiteY8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858001">
                <a:moveTo>
                  <a:pt x="0" y="0"/>
                </a:moveTo>
                <a:lnTo>
                  <a:pt x="12191999" y="0"/>
                </a:lnTo>
                <a:lnTo>
                  <a:pt x="12191999" y="1"/>
                </a:lnTo>
                <a:lnTo>
                  <a:pt x="11244457" y="1"/>
                </a:lnTo>
                <a:lnTo>
                  <a:pt x="11320895" y="158251"/>
                </a:lnTo>
                <a:cubicBezTo>
                  <a:pt x="11484548" y="543974"/>
                  <a:pt x="11575144" y="967676"/>
                  <a:pt x="11575144" y="1411817"/>
                </a:cubicBezTo>
                <a:cubicBezTo>
                  <a:pt x="11575144" y="2322199"/>
                  <a:pt x="11195095" y="3188383"/>
                  <a:pt x="10549872" y="3789408"/>
                </a:cubicBezTo>
                <a:lnTo>
                  <a:pt x="7481266" y="6858001"/>
                </a:lnTo>
                <a:lnTo>
                  <a:pt x="0" y="685800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dirty="0"/>
              <a:t>Bild durch Klicken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639FB5-612E-4C65-B977-BF5AD9731AC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23889" y="1503809"/>
            <a:ext cx="4583111" cy="2031325"/>
          </a:xfrm>
        </p:spPr>
        <p:txBody>
          <a:bodyPr vert="horz" anchor="t">
            <a:noAutofit/>
          </a:bodyPr>
          <a:lstStyle>
            <a:lvl1pPr algn="l" rtl="0"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B426E836-961B-46A6-8A61-1C32C078FA84}"/>
              </a:ext>
            </a:extLst>
          </p:cNvPr>
          <p:cNvSpPr/>
          <p:nvPr userDrawn="1"/>
        </p:nvSpPr>
        <p:spPr bwMode="gray">
          <a:xfrm>
            <a:off x="7481266" y="0"/>
            <a:ext cx="4710734" cy="6858000"/>
          </a:xfrm>
          <a:custGeom>
            <a:avLst/>
            <a:gdLst>
              <a:gd name="connsiteX0" fmla="*/ 3763191 w 4710734"/>
              <a:gd name="connsiteY0" fmla="*/ 0 h 6858000"/>
              <a:gd name="connsiteX1" fmla="*/ 4710734 w 4710734"/>
              <a:gd name="connsiteY1" fmla="*/ 0 h 6858000"/>
              <a:gd name="connsiteX2" fmla="*/ 4710734 w 4710734"/>
              <a:gd name="connsiteY2" fmla="*/ 6858000 h 6858000"/>
              <a:gd name="connsiteX3" fmla="*/ 0 w 4710734"/>
              <a:gd name="connsiteY3" fmla="*/ 6858000 h 6858000"/>
              <a:gd name="connsiteX4" fmla="*/ 3068606 w 4710734"/>
              <a:gd name="connsiteY4" fmla="*/ 3789407 h 6858000"/>
              <a:gd name="connsiteX5" fmla="*/ 4093878 w 4710734"/>
              <a:gd name="connsiteY5" fmla="*/ 1411816 h 6858000"/>
              <a:gd name="connsiteX6" fmla="*/ 3839629 w 4710734"/>
              <a:gd name="connsiteY6" fmla="*/ 1582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10734" h="6858000">
                <a:moveTo>
                  <a:pt x="3763191" y="0"/>
                </a:moveTo>
                <a:lnTo>
                  <a:pt x="4710734" y="0"/>
                </a:lnTo>
                <a:lnTo>
                  <a:pt x="4710734" y="6858000"/>
                </a:lnTo>
                <a:lnTo>
                  <a:pt x="0" y="6858000"/>
                </a:lnTo>
                <a:lnTo>
                  <a:pt x="3068606" y="3789407"/>
                </a:lnTo>
                <a:cubicBezTo>
                  <a:pt x="3713829" y="3188382"/>
                  <a:pt x="4093878" y="2322198"/>
                  <a:pt x="4093878" y="1411816"/>
                </a:cubicBezTo>
                <a:cubicBezTo>
                  <a:pt x="4093878" y="967675"/>
                  <a:pt x="4003282" y="543973"/>
                  <a:pt x="3839629" y="15825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EAD4162-4DC3-474A-8B61-6D68B15842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9507922" y="5969000"/>
            <a:ext cx="2060192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9940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E543B61-29E9-48D4-9B72-1C77B80CB6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875313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06" imgH="306" progId="TCLayout.ActiveDocument.1">
                  <p:embed/>
                </p:oleObj>
              </mc:Choice>
              <mc:Fallback>
                <p:oleObj name="think-cell Folie" r:id="rId2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4835EB5-D7FD-4DBC-9EAB-D1F5498DB5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843409"/>
            <a:ext cx="10944224" cy="8617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9E9DDD-CCCC-4E94-B8F7-90548162D7D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23888" y="2060575"/>
            <a:ext cx="10944224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C8B3EDD-0352-45DA-8264-17660B4CCA6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556478" y="6258639"/>
            <a:ext cx="711447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5DBB18-8369-4973-907F-E2FF2BAE7F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23888" y="623094"/>
            <a:ext cx="7199312" cy="1231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FAF02D-A465-47AE-A4E1-D96BFB7B12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623888" y="6258639"/>
            <a:ext cx="239711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800" b="1">
                <a:solidFill>
                  <a:schemeClr val="tx2"/>
                </a:solidFill>
                <a:latin typeface="+mn-lt"/>
              </a:defRPr>
            </a:lvl1pPr>
          </a:lstStyle>
          <a:p>
            <a:fld id="{5BA60A30-CF8F-4947-992A-6F0F434EB4F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2F8482F5-9971-41BF-B6D4-C50E84A101FB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 bwMode="gray">
          <a:xfrm>
            <a:off x="10453688" y="6157971"/>
            <a:ext cx="1114426" cy="334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563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50" r:id="rId10"/>
    <p:sldLayoutId id="2147483672" r:id="rId11"/>
    <p:sldLayoutId id="2147483675" r:id="rId12"/>
    <p:sldLayoutId id="2147483652" r:id="rId13"/>
    <p:sldLayoutId id="2147483673" r:id="rId14"/>
    <p:sldLayoutId id="2147483674" r:id="rId15"/>
    <p:sldLayoutId id="2147483668" r:id="rId16"/>
    <p:sldLayoutId id="2147483669" r:id="rId17"/>
    <p:sldLayoutId id="2147483670" r:id="rId18"/>
    <p:sldLayoutId id="2147483671" r:id="rId19"/>
    <p:sldLayoutId id="2147483655" r:id="rId20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08" userDrawn="1">
          <p15:clr>
            <a:srgbClr val="F26B43"/>
          </p15:clr>
        </p15:guide>
        <p15:guide id="2" orient="horz" pos="527" userDrawn="1">
          <p15:clr>
            <a:srgbClr val="F26B43"/>
          </p15:clr>
        </p15:guide>
        <p15:guide id="3" orient="horz" pos="391" userDrawn="1">
          <p15:clr>
            <a:srgbClr val="F26B43"/>
          </p15:clr>
        </p15:guide>
        <p15:guide id="4" pos="3772" userDrawn="1">
          <p15:clr>
            <a:srgbClr val="F26B43"/>
          </p15:clr>
        </p15:guide>
        <p15:guide id="5" pos="7287" userDrawn="1">
          <p15:clr>
            <a:srgbClr val="F26B43"/>
          </p15:clr>
        </p15:guide>
        <p15:guide id="6" pos="393" userDrawn="1">
          <p15:clr>
            <a:srgbClr val="F26B43"/>
          </p15:clr>
        </p15:guide>
        <p15:guide id="7" orient="horz" pos="3702" userDrawn="1">
          <p15:clr>
            <a:srgbClr val="F26B43"/>
          </p15:clr>
        </p15:guide>
        <p15:guide id="8" orient="horz" pos="4020" userDrawn="1">
          <p15:clr>
            <a:srgbClr val="F26B43"/>
          </p15:clr>
        </p15:guide>
        <p15:guide id="9" orient="horz" pos="12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www.youtube.com/watch?v=1DlSMQr4D6g" TargetMode="Externa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6.svg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10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hyperlink" Target="https://berg-macher.com/agile-organisation-7-praxis-tipps-fuer-die-erfolgreiche-transformation/" TargetMode="External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www.lmz-bw.de/medienbildung/themen-von-f-bis-z/medienbildung-theoretische-grundlagen/definitionen-von-medienkompetenz-und-methoden/methoden/feedback-hand" TargetMode="External"/><Relationship Id="rId4" Type="http://schemas.openxmlformats.org/officeDocument/2006/relationships/image" Target="../media/image121.png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hyperlink" Target="https://germansektor.blogspot.com/2019/04/ampel-check-in.html" TargetMode="External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creativecommons.org/licenses/by/3.0/" TargetMode="Externa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fr-fr/photo/a-l-interieur-activites-adulte-affaires-1062269/" TargetMode="External"/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19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ublicdomainpictures.net/view-image.php?image=221430&amp;picture=feedback" TargetMode="External"/><Relationship Id="rId2" Type="http://schemas.openxmlformats.org/officeDocument/2006/relationships/image" Target="../media/image124.jpg"/><Relationship Id="rId1" Type="http://schemas.openxmlformats.org/officeDocument/2006/relationships/slideLayout" Target="../slideLayouts/slideLayout19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ublicdomainpictures.net/view-image.php?image=221430&amp;picture=feedback" TargetMode="External"/><Relationship Id="rId2" Type="http://schemas.openxmlformats.org/officeDocument/2006/relationships/image" Target="../media/image124.jpg"/><Relationship Id="rId1" Type="http://schemas.openxmlformats.org/officeDocument/2006/relationships/slideLayout" Target="../slideLayouts/slideLayout19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rconomy.de/do-it-yourself-online-marketing-im-wandel-a-647403/" TargetMode="External"/><Relationship Id="rId2" Type="http://schemas.openxmlformats.org/officeDocument/2006/relationships/image" Target="../media/image125.jp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/><Relationship Id="rId2" Type="http://schemas.openxmlformats.org/officeDocument/2006/relationships/diagramData" Target="../diagrams/data19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9.xml"/><Relationship Id="rId5" Type="http://schemas.openxmlformats.org/officeDocument/2006/relationships/diagramColors" Target="../diagrams/colors19.xml"/><Relationship Id="rId4" Type="http://schemas.openxmlformats.org/officeDocument/2006/relationships/diagramQuickStyle" Target="../diagrams/quickStyle19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0.xml"/><Relationship Id="rId5" Type="http://schemas.openxmlformats.org/officeDocument/2006/relationships/diagramColors" Target="../diagrams/colors20.xml"/><Relationship Id="rId4" Type="http://schemas.openxmlformats.org/officeDocument/2006/relationships/diagramQuickStyle" Target="../diagrams/quickStyle20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1.xml"/><Relationship Id="rId2" Type="http://schemas.openxmlformats.org/officeDocument/2006/relationships/diagramData" Target="../diagrams/data2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1.xml"/><Relationship Id="rId5" Type="http://schemas.openxmlformats.org/officeDocument/2006/relationships/diagramColors" Target="../diagrams/colors21.xml"/><Relationship Id="rId4" Type="http://schemas.openxmlformats.org/officeDocument/2006/relationships/diagramQuickStyle" Target="../diagrams/quickStyle21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2.xml"/><Relationship Id="rId5" Type="http://schemas.openxmlformats.org/officeDocument/2006/relationships/diagramColors" Target="../diagrams/colors22.xml"/><Relationship Id="rId4" Type="http://schemas.openxmlformats.org/officeDocument/2006/relationships/diagramQuickStyle" Target="../diagrams/quickStyle22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3.xml"/><Relationship Id="rId2" Type="http://schemas.openxmlformats.org/officeDocument/2006/relationships/diagramData" Target="../diagrams/data23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3.xml"/><Relationship Id="rId5" Type="http://schemas.openxmlformats.org/officeDocument/2006/relationships/diagramColors" Target="../diagrams/colors23.xml"/><Relationship Id="rId4" Type="http://schemas.openxmlformats.org/officeDocument/2006/relationships/diagramQuickStyle" Target="../diagrams/quickStyle23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4.xml"/><Relationship Id="rId3" Type="http://schemas.openxmlformats.org/officeDocument/2006/relationships/notesSlide" Target="../notesSlides/notesSlide8.xml"/><Relationship Id="rId7" Type="http://schemas.openxmlformats.org/officeDocument/2006/relationships/diagramLayout" Target="../diagrams/layout24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1.xml"/><Relationship Id="rId6" Type="http://schemas.openxmlformats.org/officeDocument/2006/relationships/diagramData" Target="../diagrams/data24.xml"/><Relationship Id="rId5" Type="http://schemas.openxmlformats.org/officeDocument/2006/relationships/image" Target="../media/image1.emf"/><Relationship Id="rId10" Type="http://schemas.microsoft.com/office/2007/relationships/diagramDrawing" Target="../diagrams/drawing24.xml"/><Relationship Id="rId4" Type="http://schemas.openxmlformats.org/officeDocument/2006/relationships/oleObject" Target="../embeddings/oleObject23.bin"/><Relationship Id="rId9" Type="http://schemas.openxmlformats.org/officeDocument/2006/relationships/diagramColors" Target="../diagrams/colors24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hyperlink" Target="https://www.bibb.de/de/86408.php" TargetMode="Externa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hyperlink" Target="https://www.marconomy.de/do-it-yourself-online-marketing-im-wandel-a-647403/" TargetMode="Externa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2.xml"/><Relationship Id="rId6" Type="http://schemas.openxmlformats.org/officeDocument/2006/relationships/image" Target="../media/image12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hyperlink" Target="https://cft.vanderbilt.edu/guides-sub-pages/pedagogy-for-professional-schools-and-students/" TargetMode="External"/><Relationship Id="rId2" Type="http://schemas.openxmlformats.org/officeDocument/2006/relationships/image" Target="../media/image126.jp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creativecommons.org/licenses/by-nc/3.0/" TargetMode="Externa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ieme.de/statics/dokumente/thieme/final/de/dokumente/tw_pflegepaedagogik/abb-03-08-pflegekompetenz-nach-benner.jpg" TargetMode="External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0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5.xml"/><Relationship Id="rId2" Type="http://schemas.openxmlformats.org/officeDocument/2006/relationships/diagramData" Target="../diagrams/data25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5.xml"/><Relationship Id="rId5" Type="http://schemas.openxmlformats.org/officeDocument/2006/relationships/diagramColors" Target="../diagrams/colors25.xml"/><Relationship Id="rId4" Type="http://schemas.openxmlformats.org/officeDocument/2006/relationships/diagramQuickStyle" Target="../diagrams/quickStyle25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6.xml"/><Relationship Id="rId2" Type="http://schemas.openxmlformats.org/officeDocument/2006/relationships/diagramData" Target="../diagrams/data26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6.xml"/><Relationship Id="rId5" Type="http://schemas.openxmlformats.org/officeDocument/2006/relationships/diagramColors" Target="../diagrams/colors26.xml"/><Relationship Id="rId4" Type="http://schemas.openxmlformats.org/officeDocument/2006/relationships/diagramQuickStyle" Target="../diagrams/quickStyle26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7.xml"/><Relationship Id="rId2" Type="http://schemas.openxmlformats.org/officeDocument/2006/relationships/diagramData" Target="../diagrams/data27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7.xml"/><Relationship Id="rId5" Type="http://schemas.openxmlformats.org/officeDocument/2006/relationships/diagramColors" Target="../diagrams/colors27.xml"/><Relationship Id="rId4" Type="http://schemas.openxmlformats.org/officeDocument/2006/relationships/diagramQuickStyle" Target="../diagrams/quickStyle27.xml"/></Relationships>
</file>

<file path=ppt/slides/_rels/slide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svg"/><Relationship Id="rId3" Type="http://schemas.openxmlformats.org/officeDocument/2006/relationships/diagramLayout" Target="../diagrams/layout28.xml"/><Relationship Id="rId7" Type="http://schemas.openxmlformats.org/officeDocument/2006/relationships/image" Target="../media/image128.png"/><Relationship Id="rId2" Type="http://schemas.openxmlformats.org/officeDocument/2006/relationships/diagramData" Target="../diagrams/data28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8.xml"/><Relationship Id="rId5" Type="http://schemas.openxmlformats.org/officeDocument/2006/relationships/diagramColors" Target="../diagrams/colors28.xml"/><Relationship Id="rId4" Type="http://schemas.openxmlformats.org/officeDocument/2006/relationships/diagramQuickStyle" Target="../diagrams/quickStyle28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hyperlink" Target="https://www.thieme.de/statics/dokumente/thieme/final/de/dokumente/tw_pflegepaedagogik/abb-03-07-handlungsdimensionen-nach-christa-olbrich.jpg" TargetMode="External"/><Relationship Id="rId1" Type="http://schemas.openxmlformats.org/officeDocument/2006/relationships/slideLayout" Target="../slideLayouts/slideLayout10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awpixel.com/search/medical%20clothing" TargetMode="External"/><Relationship Id="rId2" Type="http://schemas.openxmlformats.org/officeDocument/2006/relationships/image" Target="../media/image131.1"/><Relationship Id="rId1" Type="http://schemas.openxmlformats.org/officeDocument/2006/relationships/slideLayout" Target="../slideLayouts/slideLayout4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ibb.de/de/86408.php" TargetMode="External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commons.wikimedia.org/wiki/file:nursing_simulation_lab_at_hudson_valley_community_college.jpg" TargetMode="External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creativecommons.org/licenses/by-sa/3.0/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3.xml"/><Relationship Id="rId11" Type="http://schemas.openxmlformats.org/officeDocument/2006/relationships/image" Target="../media/image20.png"/><Relationship Id="rId5" Type="http://schemas.openxmlformats.org/officeDocument/2006/relationships/diagramColors" Target="../diagrams/colors3.xml"/><Relationship Id="rId10" Type="http://schemas.openxmlformats.org/officeDocument/2006/relationships/image" Target="../media/image19.sv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linikum-oberberg.de/wwwgbz-oberbergde/institut/news/ota-skillslab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aw-hamburg.de/detail/news/news/show/praxisanleiterinnen-fuer-die-hebammenarbeit/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cm-magazin.de/skill-lab-rummelsberg-272841/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cm-magazin.de/skill-lab-rummelsberg-272841/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diagramLayout" Target="../diagrams/layout4.xml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4.xml"/><Relationship Id="rId11" Type="http://schemas.openxmlformats.org/officeDocument/2006/relationships/image" Target="../media/image20.png"/><Relationship Id="rId5" Type="http://schemas.openxmlformats.org/officeDocument/2006/relationships/diagramColors" Target="../diagrams/colors4.xml"/><Relationship Id="rId10" Type="http://schemas.openxmlformats.org/officeDocument/2006/relationships/image" Target="../media/image19.svg"/><Relationship Id="rId4" Type="http://schemas.openxmlformats.org/officeDocument/2006/relationships/diagramQuickStyle" Target="../diagrams/quickStyle4.xml"/><Relationship Id="rId9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hyperlink" Target="https://www.youtube.com/watch?v=czP2AmlY9nQ" TargetMode="External"/><Relationship Id="rId2" Type="http://schemas.openxmlformats.org/officeDocument/2006/relationships/hyperlink" Target="https://www.youtube.com/watch?v=Dv5r5lY1eS8" TargetMode="Externa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www.youtube.com/watch?v=-mu03Opd-0s" TargetMode="External"/><Relationship Id="rId5" Type="http://schemas.openxmlformats.org/officeDocument/2006/relationships/hyperlink" Target="https://www.youtube.com/watch?v=hPOPsqxB8bc" TargetMode="External"/><Relationship Id="rId4" Type="http://schemas.openxmlformats.org/officeDocument/2006/relationships/image" Target="../media/image26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nc-nd/3.0/" TargetMode="External"/><Relationship Id="rId2" Type="http://schemas.openxmlformats.org/officeDocument/2006/relationships/hyperlink" Target="https://querdenken-761.de/krise-in-der-medizinischen-versorgung-kliniken-unterbesetzt-nicht-ueberbelegt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creativecommons.org/licenses/by-nc-sa/3.0/" TargetMode="External"/><Relationship Id="rId5" Type="http://schemas.openxmlformats.org/officeDocument/2006/relationships/hyperlink" Target="https://idaho.pressbooks.pub/makingconflictsuckless/chapter/framing-and-reframing/" TargetMode="External"/><Relationship Id="rId4" Type="http://schemas.openxmlformats.org/officeDocument/2006/relationships/image" Target="../media/image27.jp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0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10" Type="http://schemas.openxmlformats.org/officeDocument/2006/relationships/hyperlink" Target="https://creativecommons.org/licenses/by-nc-sa/3.0/" TargetMode="External"/><Relationship Id="rId4" Type="http://schemas.openxmlformats.org/officeDocument/2006/relationships/oleObject" Target="../embeddings/oleObject23.bin"/><Relationship Id="rId9" Type="http://schemas.openxmlformats.org/officeDocument/2006/relationships/hyperlink" Target="https://idaho.pressbooks.pub/makingconflictsuckless/chapter/framing-and-reframing/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krankenhaus-flur-gang-etage-207692/" TargetMode="External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krankenhaus-flur-gang-etage-207692/" TargetMode="External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creativecommons.org/licenses/by-nc-nd/3.0/" TargetMode="External"/><Relationship Id="rId5" Type="http://schemas.openxmlformats.org/officeDocument/2006/relationships/hyperlink" Target="https://www.nurse24.it/infermiere/lavorare-come-infermiere/inghilterra-condizioni-contrattuali-nhs.html" TargetMode="External"/><Relationship Id="rId4" Type="http://schemas.openxmlformats.org/officeDocument/2006/relationships/image" Target="../media/image34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/3.0/" TargetMode="External"/><Relationship Id="rId2" Type="http://schemas.openxmlformats.org/officeDocument/2006/relationships/hyperlink" Target="https://wtcs.pressbooks.pub/nursingfundamentals/chapter/2-4-communicating-with-health-care-team-members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creativecommons.org/licenses/by-nc-sa/3.0/" TargetMode="External"/><Relationship Id="rId5" Type="http://schemas.openxmlformats.org/officeDocument/2006/relationships/hyperlink" Target="https://www.duperrin.com/english/2020/07/16/what-are-the-benefits-of-a-good-employee-experience/" TargetMode="External"/><Relationship Id="rId4" Type="http://schemas.openxmlformats.org/officeDocument/2006/relationships/image" Target="../media/image6.jp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krankenhaus-flur-gang-etage-207692/" TargetMode="External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creativecommons.org/licenses/by-nc-nd/3.0/" TargetMode="External"/><Relationship Id="rId5" Type="http://schemas.openxmlformats.org/officeDocument/2006/relationships/hyperlink" Target="https://www.nurse24.it/infermiere/professione/infermieri-ripartiamo-dalla-formazione.html" TargetMode="External"/><Relationship Id="rId4" Type="http://schemas.openxmlformats.org/officeDocument/2006/relationships/image" Target="../media/image37.jp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krankenhaus-flur-gang-etage-207692/" TargetMode="External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www.pikist.com/free-photo-vatul/de" TargetMode="External"/><Relationship Id="rId4" Type="http://schemas.openxmlformats.org/officeDocument/2006/relationships/image" Target="../media/image40.jp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krankenhaus-flur-gang-etage-207692/" TargetMode="External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creativecommons.org/licenses/by-nc-sa/3.0/" TargetMode="External"/><Relationship Id="rId5" Type="http://schemas.openxmlformats.org/officeDocument/2006/relationships/hyperlink" Target="https://taliawhyte.com/2015/01/28/the-benefits-of-workforce-diversity-in-todays-economy/" TargetMode="External"/><Relationship Id="rId4" Type="http://schemas.openxmlformats.org/officeDocument/2006/relationships/image" Target="../media/image43.jp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euerwehr-freising.de/hand-in-hand-fuer-eine-schnelle-rettung/" TargetMode="External"/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creativecommons.org/licenses/by-nc-nd/3.0/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hyperlink" Target="https://funandgames.org/mindbender-consonant-place-name/" TargetMode="Externa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8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9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0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wiebke-wetzel.de/4-ebenen-der-kommunikation/" TargetMode="External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creativecommons.org/licenses/by-sa/3.0/" TargetMode="Externa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3.bin"/><Relationship Id="rId9" Type="http://schemas.openxmlformats.org/officeDocument/2006/relationships/diagramColors" Target="../diagrams/colors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9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9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9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9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9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19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9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19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19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19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1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undabergnow.com/2021/02/08/new-nurses-join-the-wide-bay-hhs-team/" TargetMode="External"/><Relationship Id="rId2" Type="http://schemas.openxmlformats.org/officeDocument/2006/relationships/image" Target="../media/image79.jpg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creativecommons.org/licenses/by/3.0/" TargetMode="Externa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besprechung-meeting-gespr%C3%A4ch-1019995/" TargetMode="External"/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14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besprechung-meeting-gespr%C3%A4ch-1019995/" TargetMode="External"/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14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opublica.org/article/bill-would-add-nurses-physician-assistants-to-pharma-payments-database" TargetMode="External"/><Relationship Id="rId2" Type="http://schemas.openxmlformats.org/officeDocument/2006/relationships/image" Target="../media/image81.jpg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creativecommons.org/licenses/by-nc-nd/3.0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hyperlink" Target="https://researchoutreach.org/articles/pain-care-role-social-class-nurses-patient-management/" TargetMode="External"/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creativecommons.org/licenses/by-nc-nd/3.0/" TargetMode="Externa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sv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9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sv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94.svg"/><Relationship Id="rId4" Type="http://schemas.openxmlformats.org/officeDocument/2006/relationships/image" Target="../media/image93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sv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94.svg"/><Relationship Id="rId4" Type="http://schemas.openxmlformats.org/officeDocument/2006/relationships/image" Target="../media/image93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Oliver_Tacke_-_Diskussion.png" TargetMode="External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creativecommons.org/licenses/by-sa/3.0/" TargetMode="Externa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Oliver_Tacke_-_Diskussion.png" TargetMode="External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creativecommons.org/licenses/by-sa/3.0/" TargetMode="Externa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Oliver_Tacke_-_Diskussion.png" TargetMode="External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creativecommons.org/licenses/by-sa/3.0/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Oliver_Tacke_-_Diskussion.png" TargetMode="External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creativecommons.org/licenses/by-sa/3.0/" TargetMode="Externa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ublicdomainpictures.net/view-image.php?image=221432&amp;picture=feedback" TargetMode="External"/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8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ublicdomainpictures.net/en/view-image.php?image=364727&amp;picture=feedback-from-speech-bubbles" TargetMode="External"/><Relationship Id="rId2" Type="http://schemas.openxmlformats.org/officeDocument/2006/relationships/image" Target="../media/image97.jpg"/><Relationship Id="rId1" Type="http://schemas.openxmlformats.org/officeDocument/2006/relationships/slideLayout" Target="../slideLayouts/slideLayout10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ublicdomainpictures.net/en/view-image.php?image=364727&amp;picture=feedback-from-speech-bubbles" TargetMode="External"/><Relationship Id="rId2" Type="http://schemas.openxmlformats.org/officeDocument/2006/relationships/image" Target="../media/image97.jpg"/><Relationship Id="rId1" Type="http://schemas.openxmlformats.org/officeDocument/2006/relationships/slideLayout" Target="../slideLayouts/slideLayout10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ublicdomainpictures.net/en/view-image.php?image=364727&amp;picture=feedback-from-speech-bubbles" TargetMode="External"/><Relationship Id="rId2" Type="http://schemas.openxmlformats.org/officeDocument/2006/relationships/image" Target="../media/image97.jpg"/><Relationship Id="rId1" Type="http://schemas.openxmlformats.org/officeDocument/2006/relationships/slideLayout" Target="../slideLayouts/slideLayout10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99.svg"/><Relationship Id="rId7" Type="http://schemas.openxmlformats.org/officeDocument/2006/relationships/image" Target="../media/image103.sv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2.png"/><Relationship Id="rId11" Type="http://schemas.openxmlformats.org/officeDocument/2006/relationships/image" Target="../media/image107.svg"/><Relationship Id="rId5" Type="http://schemas.openxmlformats.org/officeDocument/2006/relationships/image" Target="../media/image101.svg"/><Relationship Id="rId10" Type="http://schemas.openxmlformats.org/officeDocument/2006/relationships/image" Target="../media/image106.png"/><Relationship Id="rId4" Type="http://schemas.openxmlformats.org/officeDocument/2006/relationships/image" Target="../media/image100.png"/><Relationship Id="rId9" Type="http://schemas.openxmlformats.org/officeDocument/2006/relationships/image" Target="../media/image105.svg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image" Target="../media/image109.svg"/><Relationship Id="rId7" Type="http://schemas.openxmlformats.org/officeDocument/2006/relationships/image" Target="../media/image113.sv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2.png"/><Relationship Id="rId11" Type="http://schemas.openxmlformats.org/officeDocument/2006/relationships/image" Target="../media/image117.svg"/><Relationship Id="rId5" Type="http://schemas.openxmlformats.org/officeDocument/2006/relationships/image" Target="../media/image111.svg"/><Relationship Id="rId10" Type="http://schemas.openxmlformats.org/officeDocument/2006/relationships/image" Target="../media/image116.png"/><Relationship Id="rId4" Type="http://schemas.openxmlformats.org/officeDocument/2006/relationships/image" Target="../media/image110.png"/><Relationship Id="rId9" Type="http://schemas.openxmlformats.org/officeDocument/2006/relationships/image" Target="../media/image115.svg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photo/photography-of-women-talking-to-each-other-1181717/" TargetMode="External"/><Relationship Id="rId2" Type="http://schemas.openxmlformats.org/officeDocument/2006/relationships/image" Target="../media/image118.jp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6F9841C-9CDC-42D4-899A-F8F5EAE477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010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4C4112-6867-4F19-BAB6-F26B93986E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9" y="836614"/>
            <a:ext cx="7187067" cy="1661993"/>
          </a:xfrm>
        </p:spPr>
        <p:txBody>
          <a:bodyPr vert="horz"/>
          <a:lstStyle/>
          <a:p>
            <a:r>
              <a:rPr lang="de-DE" dirty="0"/>
              <a:t>Praxisanleitung Grundlag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0BF77994-F695-410D-BD52-48E81F92250B}"/>
              </a:ext>
            </a:extLst>
          </p:cNvPr>
          <p:cNvSpPr txBox="1">
            <a:spLocks/>
          </p:cNvSpPr>
          <p:nvPr/>
        </p:nvSpPr>
        <p:spPr bwMode="gray">
          <a:xfrm>
            <a:off x="567061" y="4850354"/>
            <a:ext cx="7187067" cy="8142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sym typeface="+mn-lt"/>
              </a:rPr>
              <a:t>Nora Wehrstedt, M.S.M</a:t>
            </a:r>
          </a:p>
          <a:p>
            <a:endParaRPr lang="de-DE" sz="400" dirty="0">
              <a:sym typeface="+mn-lt"/>
            </a:endParaRPr>
          </a:p>
          <a:p>
            <a:r>
              <a:rPr lang="de-DE" sz="1400" dirty="0">
                <a:sym typeface="+mn-lt"/>
              </a:rPr>
              <a:t>Leitung Weiterbildung FLP</a:t>
            </a:r>
          </a:p>
          <a:p>
            <a:r>
              <a:rPr lang="de-DE" sz="1400" dirty="0">
                <a:sym typeface="+mn-lt"/>
              </a:rPr>
              <a:t>Leitung berufspädagogische Qualifikation zur/m Praxisanleiter/in</a:t>
            </a:r>
          </a:p>
        </p:txBody>
      </p:sp>
    </p:spTree>
    <p:extLst>
      <p:ext uri="{BB962C8B-B14F-4D97-AF65-F5344CB8AC3E}">
        <p14:creationId xmlns:p14="http://schemas.microsoft.com/office/powerpoint/2010/main" val="17093627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469E3FE-98CD-4882-8108-C2231CB12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469E3FE-98CD-4882-8108-C2231CB12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C7BA182-EAB4-46B4-BD66-B4553C45C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nleitung vs. Begleitung</a:t>
            </a:r>
          </a:p>
        </p:txBody>
      </p:sp>
      <p:graphicFrame>
        <p:nvGraphicFramePr>
          <p:cNvPr id="3" name="Inhaltsplatzhalter 2">
            <a:extLst>
              <a:ext uri="{FF2B5EF4-FFF2-40B4-BE49-F238E27FC236}">
                <a16:creationId xmlns:a16="http://schemas.microsoft.com/office/drawing/2014/main" id="{03D808C9-B46A-4587-8B49-C0B2E6399CE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23888" y="1796924"/>
          <a:ext cx="10944225" cy="2832787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2780">
                  <a:extLst>
                    <a:ext uri="{9D8B030D-6E8A-4147-A177-3AD203B41FA5}">
                      <a16:colId xmlns:a16="http://schemas.microsoft.com/office/drawing/2014/main" val="3987331471"/>
                    </a:ext>
                  </a:extLst>
                </a:gridCol>
                <a:gridCol w="4438835">
                  <a:extLst>
                    <a:ext uri="{9D8B030D-6E8A-4147-A177-3AD203B41FA5}">
                      <a16:colId xmlns:a16="http://schemas.microsoft.com/office/drawing/2014/main" val="2325544211"/>
                    </a:ext>
                  </a:extLst>
                </a:gridCol>
                <a:gridCol w="4492610">
                  <a:extLst>
                    <a:ext uri="{9D8B030D-6E8A-4147-A177-3AD203B41FA5}">
                      <a16:colId xmlns:a16="http://schemas.microsoft.com/office/drawing/2014/main" val="1932642481"/>
                    </a:ext>
                  </a:extLst>
                </a:gridCol>
              </a:tblGrid>
              <a:tr h="396940"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Praxisanl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Praxisbeglei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9524416"/>
                  </a:ext>
                </a:extLst>
              </a:tr>
              <a:tr h="1369047">
                <a:tc>
                  <a:txBody>
                    <a:bodyPr/>
                    <a:lstStyle/>
                    <a:p>
                      <a:r>
                        <a:rPr lang="de-DE" sz="1600" b="1" dirty="0"/>
                        <a:t>Defin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Unterschiedliche Formen der Anleitung des Lernenden in Praxis, Schule, </a:t>
                      </a:r>
                      <a:r>
                        <a:rPr lang="de-DE" sz="1600" dirty="0" err="1"/>
                        <a:t>SkillsLab</a:t>
                      </a:r>
                      <a:endParaRPr lang="de-DE" sz="16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Geplante prozesshafte Aktivität, durch die Lernende an Handlungsweisen herangeführt werd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Begleitung des Lernenden während der praktischen Einsätze vor Or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Besuch des Lernenden durch </a:t>
                      </a:r>
                      <a:r>
                        <a:rPr lang="de-DE" sz="1600" dirty="0" err="1"/>
                        <a:t>Praxisanleiter:in</a:t>
                      </a:r>
                      <a:r>
                        <a:rPr lang="de-DE" sz="1600" dirty="0"/>
                        <a:t> oder Lehrkra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9614411"/>
                  </a:ext>
                </a:extLst>
              </a:tr>
              <a:tr h="852257">
                <a:tc>
                  <a:txBody>
                    <a:bodyPr/>
                    <a:lstStyle/>
                    <a:p>
                      <a:r>
                        <a:rPr lang="de-DE" sz="1600" b="1" dirty="0"/>
                        <a:t>Inha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sz="1600" dirty="0"/>
                        <a:t>Erweiterung der Handlungskompetenz, basierend auf individuellen Lernzielen, Kompetenzen und dem allgemeinen Ausbildungszi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Begleitung und Beratung der Lernenden während der praktischen Einsätze und exemplarischen Pflegesituatio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360073"/>
                  </a:ext>
                </a:extLst>
              </a:tr>
            </a:tbl>
          </a:graphicData>
        </a:graphic>
      </p:graphicFrame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6F8098-73F7-4DF5-98D5-05126E37FE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B69332F-3E3A-447E-B968-6EFD28068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2857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AD1728A-0DD4-4D1D-A6F7-D52F2F1BB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0198E48-53D2-41E1-BB76-CB8100CA6652}"/>
              </a:ext>
            </a:extLst>
          </p:cNvPr>
          <p:cNvSpPr txBox="1"/>
          <p:nvPr/>
        </p:nvSpPr>
        <p:spPr>
          <a:xfrm>
            <a:off x="2874936" y="6258639"/>
            <a:ext cx="666530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800" dirty="0">
                <a:solidFill>
                  <a:schemeClr val="tx2"/>
                </a:solidFill>
              </a:rPr>
              <a:t>Vgl. </a:t>
            </a:r>
            <a:r>
              <a:rPr lang="de-DE" sz="800" dirty="0" err="1">
                <a:solidFill>
                  <a:schemeClr val="tx2"/>
                </a:solidFill>
              </a:rPr>
              <a:t>Schewior</a:t>
            </a:r>
            <a:r>
              <a:rPr lang="de-DE" sz="800" dirty="0">
                <a:solidFill>
                  <a:schemeClr val="tx2"/>
                </a:solidFill>
              </a:rPr>
              <a:t>-Popp, S. (2014), S. 36; Vgl. Denzel, S. (2019), S. 14 f., Vgl. Klein, Z./Peters, M./Garcia González, D./Dauer, B. (2021), S. 13</a:t>
            </a:r>
          </a:p>
        </p:txBody>
      </p:sp>
    </p:spTree>
    <p:extLst>
      <p:ext uri="{BB962C8B-B14F-4D97-AF65-F5344CB8AC3E}">
        <p14:creationId xmlns:p14="http://schemas.microsoft.com/office/powerpoint/2010/main" val="3912270822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843409"/>
            <a:ext cx="10944224" cy="861774"/>
          </a:xfrm>
        </p:spPr>
        <p:txBody>
          <a:bodyPr/>
          <a:lstStyle/>
          <a:p>
            <a:r>
              <a:rPr lang="de-DE" dirty="0"/>
              <a:t>Feedbackmethode</a:t>
            </a:r>
            <a:br>
              <a:rPr lang="de-DE" dirty="0"/>
            </a:br>
            <a:r>
              <a:rPr lang="de-DE" dirty="0"/>
              <a:t>W </a:t>
            </a:r>
            <a:r>
              <a:rPr lang="de-DE" dirty="0" err="1"/>
              <a:t>W</a:t>
            </a:r>
            <a:r>
              <a:rPr lang="de-DE" dirty="0"/>
              <a:t> </a:t>
            </a:r>
            <a:r>
              <a:rPr lang="de-DE" dirty="0" err="1"/>
              <a:t>W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1792"/>
            <a:ext cx="11102378" cy="12441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00</a:t>
            </a:fld>
            <a:endParaRPr lang="de-DE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117880F-F320-4389-AA28-E2C357D8ED17}"/>
              </a:ext>
            </a:extLst>
          </p:cNvPr>
          <p:cNvGrpSpPr/>
          <p:nvPr/>
        </p:nvGrpSpPr>
        <p:grpSpPr>
          <a:xfrm>
            <a:off x="623888" y="2628045"/>
            <a:ext cx="1947062" cy="2726676"/>
            <a:chOff x="623888" y="2628045"/>
            <a:chExt cx="1947062" cy="2726676"/>
          </a:xfrm>
        </p:grpSpPr>
        <p:pic>
          <p:nvPicPr>
            <p:cNvPr id="7" name="Grafik 6" descr="Videokamera">
              <a:hlinkClick r:id="rId2"/>
              <a:extLst>
                <a:ext uri="{FF2B5EF4-FFF2-40B4-BE49-F238E27FC236}">
                  <a16:creationId xmlns:a16="http://schemas.microsoft.com/office/drawing/2014/main" id="{EE76DF09-84C8-4290-8926-CAB444B274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23888" y="2628045"/>
              <a:ext cx="1947062" cy="1947062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7E432B5B-5100-48FC-8A7F-140E66CBF09E}"/>
                </a:ext>
              </a:extLst>
            </p:cNvPr>
            <p:cNvSpPr txBox="1"/>
            <p:nvPr/>
          </p:nvSpPr>
          <p:spPr>
            <a:xfrm>
              <a:off x="623888" y="4667093"/>
              <a:ext cx="1947062" cy="6876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sz="1600" b="1" dirty="0">
                  <a:solidFill>
                    <a:schemeClr val="tx2"/>
                  </a:solidFill>
                </a:rPr>
                <a:t>Film zur WWW-Methode</a:t>
              </a:r>
            </a:p>
          </p:txBody>
        </p:sp>
      </p:grp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703969F-144D-4099-A901-BAE0568DA7A7}"/>
              </a:ext>
            </a:extLst>
          </p:cNvPr>
          <p:cNvSpPr/>
          <p:nvPr/>
        </p:nvSpPr>
        <p:spPr>
          <a:xfrm>
            <a:off x="4484218" y="2045945"/>
            <a:ext cx="5859475" cy="118737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0CF549B0-983C-4916-85D9-4FEB6722E708}"/>
              </a:ext>
            </a:extLst>
          </p:cNvPr>
          <p:cNvSpPr/>
          <p:nvPr/>
        </p:nvSpPr>
        <p:spPr>
          <a:xfrm>
            <a:off x="4484218" y="3360433"/>
            <a:ext cx="5859475" cy="118737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14EAB59-0B24-42F9-9F97-8D538A534696}"/>
              </a:ext>
            </a:extLst>
          </p:cNvPr>
          <p:cNvSpPr/>
          <p:nvPr/>
        </p:nvSpPr>
        <p:spPr>
          <a:xfrm>
            <a:off x="4484217" y="4674921"/>
            <a:ext cx="5859475" cy="118737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63814D7-310D-4D23-A823-80B7C2ED2D91}"/>
              </a:ext>
            </a:extLst>
          </p:cNvPr>
          <p:cNvSpPr txBox="1"/>
          <p:nvPr/>
        </p:nvSpPr>
        <p:spPr>
          <a:xfrm>
            <a:off x="4550054" y="2121408"/>
            <a:ext cx="804672" cy="10253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6600" dirty="0">
                <a:solidFill>
                  <a:schemeClr val="accent1"/>
                </a:solidFill>
              </a:rPr>
              <a:t>1.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5A74A44-4369-476F-AE7C-5CD685B42E56}"/>
              </a:ext>
            </a:extLst>
          </p:cNvPr>
          <p:cNvSpPr txBox="1"/>
          <p:nvPr/>
        </p:nvSpPr>
        <p:spPr>
          <a:xfrm>
            <a:off x="4571999" y="3426299"/>
            <a:ext cx="804672" cy="10253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6600" dirty="0">
                <a:solidFill>
                  <a:schemeClr val="accent1"/>
                </a:solidFill>
              </a:rPr>
              <a:t>2.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27F5A87-AA9A-430F-8D95-E1D74C2FB193}"/>
              </a:ext>
            </a:extLst>
          </p:cNvPr>
          <p:cNvSpPr txBox="1"/>
          <p:nvPr/>
        </p:nvSpPr>
        <p:spPr>
          <a:xfrm>
            <a:off x="4571999" y="4699677"/>
            <a:ext cx="804672" cy="10253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6600" dirty="0">
                <a:solidFill>
                  <a:schemeClr val="accent1"/>
                </a:solidFill>
              </a:rPr>
              <a:t>3.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9F050D3-D6AE-46FB-B63E-1579599E923B}"/>
              </a:ext>
            </a:extLst>
          </p:cNvPr>
          <p:cNvSpPr txBox="1"/>
          <p:nvPr/>
        </p:nvSpPr>
        <p:spPr>
          <a:xfrm>
            <a:off x="5471770" y="2334052"/>
            <a:ext cx="4491532" cy="6943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1" dirty="0">
                <a:solidFill>
                  <a:schemeClr val="tx2"/>
                </a:solidFill>
              </a:rPr>
              <a:t>Wahrnehmung</a:t>
            </a:r>
            <a:r>
              <a:rPr lang="de-DE" sz="1400" dirty="0">
                <a:solidFill>
                  <a:schemeClr val="tx2"/>
                </a:solidFill>
              </a:rPr>
              <a:t> beschreiben</a:t>
            </a:r>
          </a:p>
          <a:p>
            <a:pPr marL="285750" indent="-285750" algn="l">
              <a:buFontTx/>
              <a:buChar char="-"/>
            </a:pPr>
            <a:r>
              <a:rPr lang="de-DE" sz="1400" dirty="0">
                <a:solidFill>
                  <a:schemeClr val="tx2"/>
                </a:solidFill>
              </a:rPr>
              <a:t>ohne Wertung und Vorwürfe</a:t>
            </a:r>
          </a:p>
          <a:p>
            <a:pPr marL="285750" indent="-285750" algn="l">
              <a:buFontTx/>
              <a:buChar char="-"/>
            </a:pPr>
            <a:r>
              <a:rPr lang="de-DE" sz="1400" dirty="0">
                <a:solidFill>
                  <a:schemeClr val="tx2"/>
                </a:solidFill>
              </a:rPr>
              <a:t>so konkret wie möglich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21B8308-5729-4C07-AF89-2511F2BC2A95}"/>
              </a:ext>
            </a:extLst>
          </p:cNvPr>
          <p:cNvSpPr txBox="1"/>
          <p:nvPr/>
        </p:nvSpPr>
        <p:spPr>
          <a:xfrm>
            <a:off x="5471770" y="3632251"/>
            <a:ext cx="4491532" cy="709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1" dirty="0">
                <a:solidFill>
                  <a:schemeClr val="tx2"/>
                </a:solidFill>
              </a:rPr>
              <a:t>Wirkung </a:t>
            </a:r>
            <a:r>
              <a:rPr lang="de-DE" sz="1400" dirty="0">
                <a:solidFill>
                  <a:schemeClr val="tx2"/>
                </a:solidFill>
              </a:rPr>
              <a:t>erklären</a:t>
            </a:r>
          </a:p>
          <a:p>
            <a:pPr marL="285750" indent="-285750" algn="l">
              <a:buFontTx/>
              <a:buChar char="-"/>
            </a:pPr>
            <a:r>
              <a:rPr lang="de-DE" sz="1400" dirty="0">
                <a:solidFill>
                  <a:schemeClr val="tx2"/>
                </a:solidFill>
              </a:rPr>
              <a:t>mit Bezug auf die eigenen Gefühle</a:t>
            </a:r>
          </a:p>
          <a:p>
            <a:pPr marL="285750" indent="-285750" algn="l">
              <a:buFontTx/>
              <a:buChar char="-"/>
            </a:pPr>
            <a:r>
              <a:rPr lang="de-DE" sz="1400" dirty="0">
                <a:solidFill>
                  <a:schemeClr val="tx2"/>
                </a:solidFill>
              </a:rPr>
              <a:t>positiv sowie negativ möglich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C27B8DC-5765-4A06-BA7A-1878E781BC61}"/>
              </a:ext>
            </a:extLst>
          </p:cNvPr>
          <p:cNvSpPr txBox="1"/>
          <p:nvPr/>
        </p:nvSpPr>
        <p:spPr>
          <a:xfrm>
            <a:off x="5471770" y="4873939"/>
            <a:ext cx="4491532" cy="8803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1" dirty="0">
                <a:solidFill>
                  <a:schemeClr val="tx2"/>
                </a:solidFill>
              </a:rPr>
              <a:t>Wunsch</a:t>
            </a:r>
            <a:r>
              <a:rPr lang="de-DE" sz="1400" dirty="0">
                <a:solidFill>
                  <a:schemeClr val="tx2"/>
                </a:solidFill>
              </a:rPr>
              <a:t> mitteilen</a:t>
            </a:r>
          </a:p>
          <a:p>
            <a:pPr marL="285750" indent="-285750" algn="l">
              <a:buFontTx/>
              <a:buChar char="-"/>
            </a:pPr>
            <a:r>
              <a:rPr lang="de-DE" sz="1400" dirty="0">
                <a:solidFill>
                  <a:schemeClr val="tx2"/>
                </a:solidFill>
              </a:rPr>
              <a:t>positives Bedürfnis</a:t>
            </a:r>
          </a:p>
          <a:p>
            <a:pPr marL="285750" indent="-285750" algn="l">
              <a:buFontTx/>
              <a:buChar char="-"/>
            </a:pPr>
            <a:r>
              <a:rPr lang="de-DE" sz="1400" dirty="0">
                <a:solidFill>
                  <a:schemeClr val="tx2"/>
                </a:solidFill>
              </a:rPr>
              <a:t>Erwartungen schildern und wie Verhalten in Zukunft sein soll</a:t>
            </a:r>
          </a:p>
        </p:txBody>
      </p:sp>
    </p:spTree>
    <p:extLst>
      <p:ext uri="{BB962C8B-B14F-4D97-AF65-F5344CB8AC3E}">
        <p14:creationId xmlns:p14="http://schemas.microsoft.com/office/powerpoint/2010/main" val="3832306170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methode</a:t>
            </a:r>
            <a:br>
              <a:rPr lang="de-DE" dirty="0"/>
            </a:br>
            <a:r>
              <a:rPr lang="de-DE" dirty="0"/>
              <a:t>W </a:t>
            </a:r>
            <a:r>
              <a:rPr lang="de-DE" dirty="0" err="1"/>
              <a:t>W</a:t>
            </a:r>
            <a:r>
              <a:rPr lang="de-DE" dirty="0"/>
              <a:t> </a:t>
            </a:r>
            <a:r>
              <a:rPr lang="de-DE" dirty="0" err="1"/>
              <a:t>W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1792"/>
            <a:ext cx="11102378" cy="12441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01</a:t>
            </a:fld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703969F-144D-4099-A901-BAE0568DA7A7}"/>
              </a:ext>
            </a:extLst>
          </p:cNvPr>
          <p:cNvSpPr/>
          <p:nvPr/>
        </p:nvSpPr>
        <p:spPr>
          <a:xfrm>
            <a:off x="775411" y="2060575"/>
            <a:ext cx="10680193" cy="118737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0CF549B0-983C-4916-85D9-4FEB6722E708}"/>
              </a:ext>
            </a:extLst>
          </p:cNvPr>
          <p:cNvSpPr/>
          <p:nvPr/>
        </p:nvSpPr>
        <p:spPr>
          <a:xfrm>
            <a:off x="775411" y="3375063"/>
            <a:ext cx="10680193" cy="118737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14EAB59-0B24-42F9-9F97-8D538A534696}"/>
              </a:ext>
            </a:extLst>
          </p:cNvPr>
          <p:cNvSpPr/>
          <p:nvPr/>
        </p:nvSpPr>
        <p:spPr>
          <a:xfrm>
            <a:off x="775410" y="4689551"/>
            <a:ext cx="10680193" cy="118737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63814D7-310D-4D23-A823-80B7C2ED2D91}"/>
              </a:ext>
            </a:extLst>
          </p:cNvPr>
          <p:cNvSpPr txBox="1"/>
          <p:nvPr/>
        </p:nvSpPr>
        <p:spPr>
          <a:xfrm>
            <a:off x="841247" y="2136038"/>
            <a:ext cx="804672" cy="10253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6600" dirty="0">
                <a:solidFill>
                  <a:schemeClr val="accent1"/>
                </a:solidFill>
              </a:rPr>
              <a:t>1.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5A74A44-4369-476F-AE7C-5CD685B42E56}"/>
              </a:ext>
            </a:extLst>
          </p:cNvPr>
          <p:cNvSpPr txBox="1"/>
          <p:nvPr/>
        </p:nvSpPr>
        <p:spPr>
          <a:xfrm>
            <a:off x="863192" y="3440929"/>
            <a:ext cx="804672" cy="10253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6600" dirty="0">
                <a:solidFill>
                  <a:schemeClr val="accent1"/>
                </a:solidFill>
              </a:rPr>
              <a:t>2.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27F5A87-AA9A-430F-8D95-E1D74C2FB193}"/>
              </a:ext>
            </a:extLst>
          </p:cNvPr>
          <p:cNvSpPr txBox="1"/>
          <p:nvPr/>
        </p:nvSpPr>
        <p:spPr>
          <a:xfrm>
            <a:off x="863192" y="4714307"/>
            <a:ext cx="804672" cy="10253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6600" dirty="0">
                <a:solidFill>
                  <a:schemeClr val="accent1"/>
                </a:solidFill>
              </a:rPr>
              <a:t>3.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9F050D3-D6AE-46FB-B63E-1579599E923B}"/>
              </a:ext>
            </a:extLst>
          </p:cNvPr>
          <p:cNvSpPr txBox="1"/>
          <p:nvPr/>
        </p:nvSpPr>
        <p:spPr>
          <a:xfrm>
            <a:off x="1762963" y="2341367"/>
            <a:ext cx="4491532" cy="6943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600" b="1" dirty="0">
                <a:solidFill>
                  <a:schemeClr val="tx2"/>
                </a:solidFill>
              </a:rPr>
              <a:t>Wahrnehmung</a:t>
            </a:r>
            <a:r>
              <a:rPr lang="de-DE" sz="1600" dirty="0">
                <a:solidFill>
                  <a:schemeClr val="tx2"/>
                </a:solidFill>
              </a:rPr>
              <a:t> beschreiben</a:t>
            </a:r>
          </a:p>
          <a:p>
            <a:pPr marL="285750" indent="-285750" algn="l">
              <a:buFontTx/>
              <a:buChar char="-"/>
            </a:pPr>
            <a:r>
              <a:rPr lang="de-DE" sz="1600" dirty="0">
                <a:solidFill>
                  <a:schemeClr val="tx2"/>
                </a:solidFill>
              </a:rPr>
              <a:t>ohne Wertung und Vorwürfe</a:t>
            </a:r>
          </a:p>
          <a:p>
            <a:pPr marL="285750" indent="-285750" algn="l">
              <a:buFontTx/>
              <a:buChar char="-"/>
            </a:pPr>
            <a:r>
              <a:rPr lang="de-DE" sz="1600" dirty="0">
                <a:solidFill>
                  <a:schemeClr val="tx2"/>
                </a:solidFill>
              </a:rPr>
              <a:t>so konkret wie möglich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21B8308-5729-4C07-AF89-2511F2BC2A95}"/>
              </a:ext>
            </a:extLst>
          </p:cNvPr>
          <p:cNvSpPr txBox="1"/>
          <p:nvPr/>
        </p:nvSpPr>
        <p:spPr>
          <a:xfrm>
            <a:off x="1762963" y="3624936"/>
            <a:ext cx="4491532" cy="709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600" b="1" dirty="0">
                <a:solidFill>
                  <a:schemeClr val="tx2"/>
                </a:solidFill>
              </a:rPr>
              <a:t>Wirkung </a:t>
            </a:r>
            <a:r>
              <a:rPr lang="de-DE" sz="1600" dirty="0">
                <a:solidFill>
                  <a:schemeClr val="tx2"/>
                </a:solidFill>
              </a:rPr>
              <a:t>erklären</a:t>
            </a:r>
          </a:p>
          <a:p>
            <a:pPr marL="285750" indent="-285750" algn="l">
              <a:buFontTx/>
              <a:buChar char="-"/>
            </a:pPr>
            <a:r>
              <a:rPr lang="de-DE" sz="1600" dirty="0">
                <a:solidFill>
                  <a:schemeClr val="tx2"/>
                </a:solidFill>
              </a:rPr>
              <a:t>mit Bezug auf die eigenen Gefühle</a:t>
            </a:r>
          </a:p>
          <a:p>
            <a:pPr marL="285750" indent="-285750" algn="l">
              <a:buFontTx/>
              <a:buChar char="-"/>
            </a:pPr>
            <a:r>
              <a:rPr lang="de-DE" sz="1600" dirty="0">
                <a:solidFill>
                  <a:schemeClr val="tx2"/>
                </a:solidFill>
              </a:rPr>
              <a:t>positiv sowie negativ möglich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C27B8DC-5765-4A06-BA7A-1878E781BC61}"/>
              </a:ext>
            </a:extLst>
          </p:cNvPr>
          <p:cNvSpPr txBox="1"/>
          <p:nvPr/>
        </p:nvSpPr>
        <p:spPr>
          <a:xfrm>
            <a:off x="1762962" y="4844679"/>
            <a:ext cx="4608575" cy="8803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600" b="1" dirty="0">
                <a:solidFill>
                  <a:schemeClr val="tx2"/>
                </a:solidFill>
              </a:rPr>
              <a:t>Wunsch</a:t>
            </a:r>
            <a:r>
              <a:rPr lang="de-DE" sz="1600" dirty="0">
                <a:solidFill>
                  <a:schemeClr val="tx2"/>
                </a:solidFill>
              </a:rPr>
              <a:t> mitteilen</a:t>
            </a:r>
          </a:p>
          <a:p>
            <a:pPr marL="285750" indent="-285750" algn="l">
              <a:buFontTx/>
              <a:buChar char="-"/>
            </a:pPr>
            <a:r>
              <a:rPr lang="de-DE" sz="1600" dirty="0">
                <a:solidFill>
                  <a:schemeClr val="tx2"/>
                </a:solidFill>
              </a:rPr>
              <a:t>positives Bedürfnis</a:t>
            </a:r>
          </a:p>
          <a:p>
            <a:pPr marL="285750" indent="-285750" algn="l">
              <a:buFontTx/>
              <a:buChar char="-"/>
            </a:pPr>
            <a:r>
              <a:rPr lang="de-DE" sz="1600" dirty="0">
                <a:solidFill>
                  <a:schemeClr val="tx2"/>
                </a:solidFill>
              </a:rPr>
              <a:t>Erwartungen schildern und wie Verhalten in Zukunft sein soll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0B6B2BC4-213A-4E3D-828E-9C57D790E337}"/>
              </a:ext>
            </a:extLst>
          </p:cNvPr>
          <p:cNvSpPr/>
          <p:nvPr/>
        </p:nvSpPr>
        <p:spPr>
          <a:xfrm>
            <a:off x="6642202" y="2187807"/>
            <a:ext cx="4608576" cy="922964"/>
          </a:xfrm>
          <a:prstGeom prst="roundRect">
            <a:avLst/>
          </a:prstGeom>
          <a:solidFill>
            <a:srgbClr val="DEEAE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Ich habe beobachtet, dass …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4BEF3EB3-DF0E-439F-980D-F8679B91BF10}"/>
              </a:ext>
            </a:extLst>
          </p:cNvPr>
          <p:cNvSpPr/>
          <p:nvPr/>
        </p:nvSpPr>
        <p:spPr>
          <a:xfrm>
            <a:off x="6642202" y="3506765"/>
            <a:ext cx="4608576" cy="922964"/>
          </a:xfrm>
          <a:prstGeom prst="roundRect">
            <a:avLst/>
          </a:prstGeom>
          <a:solidFill>
            <a:srgbClr val="DEEAE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Auf mich hat XYZ so gewirkt, …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BE0CEEDF-8937-4946-8425-72A20C67F1A5}"/>
              </a:ext>
            </a:extLst>
          </p:cNvPr>
          <p:cNvSpPr/>
          <p:nvPr/>
        </p:nvSpPr>
        <p:spPr>
          <a:xfrm>
            <a:off x="6642202" y="4813331"/>
            <a:ext cx="4608576" cy="922964"/>
          </a:xfrm>
          <a:prstGeom prst="roundRect">
            <a:avLst/>
          </a:prstGeom>
          <a:solidFill>
            <a:srgbClr val="DEEAE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Ich wünsche mir stattdessen …</a:t>
            </a:r>
          </a:p>
        </p:txBody>
      </p:sp>
    </p:spTree>
    <p:extLst>
      <p:ext uri="{BB962C8B-B14F-4D97-AF65-F5344CB8AC3E}">
        <p14:creationId xmlns:p14="http://schemas.microsoft.com/office/powerpoint/2010/main" val="211727543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71E7D1-1866-4252-82F7-66BD45672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methode</a:t>
            </a:r>
            <a:br>
              <a:rPr lang="de-DE" dirty="0"/>
            </a:br>
            <a:r>
              <a:rPr lang="de-DE" dirty="0"/>
              <a:t>W </a:t>
            </a:r>
            <a:r>
              <a:rPr lang="de-DE" dirty="0" err="1"/>
              <a:t>W</a:t>
            </a:r>
            <a:r>
              <a:rPr lang="de-DE" dirty="0"/>
              <a:t> </a:t>
            </a:r>
            <a:r>
              <a:rPr lang="de-DE" dirty="0" err="1"/>
              <a:t>W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86B0671-BE27-4312-8E39-613D9DF5BB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514FC2-22F9-46FF-BE71-971C40D260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1142E4B-909A-47AE-9E2D-B375F2C1BB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A48766-FEF6-40BB-B2D6-DF3A815287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02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19A2586-30F6-4D7A-AB24-E70C8BE743C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827" t="13896" r="4402" b="15413"/>
          <a:stretch/>
        </p:blipFill>
        <p:spPr>
          <a:xfrm>
            <a:off x="7059296" y="0"/>
            <a:ext cx="5163779" cy="6858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FD6B7B0-F5F1-4CE8-8786-03FFF0ABCF12}"/>
              </a:ext>
            </a:extLst>
          </p:cNvPr>
          <p:cNvSpPr txBox="1"/>
          <p:nvPr/>
        </p:nvSpPr>
        <p:spPr>
          <a:xfrm>
            <a:off x="4223544" y="6258639"/>
            <a:ext cx="3367773" cy="3730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https://begeisterungsland.de/feedback-geben/</a:t>
            </a:r>
          </a:p>
        </p:txBody>
      </p:sp>
      <p:sp>
        <p:nvSpPr>
          <p:cNvPr id="9" name="Sprechblase: oval 8">
            <a:extLst>
              <a:ext uri="{FF2B5EF4-FFF2-40B4-BE49-F238E27FC236}">
                <a16:creationId xmlns:a16="http://schemas.microsoft.com/office/drawing/2014/main" id="{125E9860-2818-4C07-92FC-3DC3E99B1392}"/>
              </a:ext>
            </a:extLst>
          </p:cNvPr>
          <p:cNvSpPr/>
          <p:nvPr/>
        </p:nvSpPr>
        <p:spPr>
          <a:xfrm>
            <a:off x="1355845" y="2778710"/>
            <a:ext cx="4971495" cy="1802167"/>
          </a:xfrm>
          <a:prstGeom prst="wedgeEllipseCallout">
            <a:avLst>
              <a:gd name="adj1" fmla="val 53988"/>
              <a:gd name="adj2" fmla="val 4181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„Die Spülmaschine ist voll.“</a:t>
            </a:r>
          </a:p>
        </p:txBody>
      </p:sp>
    </p:spTree>
    <p:extLst>
      <p:ext uri="{BB962C8B-B14F-4D97-AF65-F5344CB8AC3E}">
        <p14:creationId xmlns:p14="http://schemas.microsoft.com/office/powerpoint/2010/main" val="1040182462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methode</a:t>
            </a:r>
            <a:br>
              <a:rPr lang="de-DE" dirty="0"/>
            </a:br>
            <a:r>
              <a:rPr lang="de-DE" dirty="0"/>
              <a:t>5-Finger-Feedback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03</a:t>
            </a:fld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A62AF1F-ADF1-4C62-98B9-C008218BEB3A}"/>
              </a:ext>
            </a:extLst>
          </p:cNvPr>
          <p:cNvGrpSpPr/>
          <p:nvPr/>
        </p:nvGrpSpPr>
        <p:grpSpPr>
          <a:xfrm>
            <a:off x="1247565" y="2374412"/>
            <a:ext cx="4380090" cy="3829070"/>
            <a:chOff x="1247565" y="2374412"/>
            <a:chExt cx="4380090" cy="3829070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5A68DA09-D5E0-4AF6-BD47-8E2EB8F6AD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874" t="4264" r="5607" b="2011"/>
            <a:stretch/>
          </p:blipFill>
          <p:spPr>
            <a:xfrm>
              <a:off x="1247565" y="2374412"/>
              <a:ext cx="4380090" cy="3502513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D4F72274-D035-4195-B510-AA1C2655B7A4}"/>
                </a:ext>
              </a:extLst>
            </p:cNvPr>
            <p:cNvSpPr txBox="1"/>
            <p:nvPr/>
          </p:nvSpPr>
          <p:spPr>
            <a:xfrm>
              <a:off x="1318845" y="5932082"/>
              <a:ext cx="3956539" cy="2714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hlinkClick r:id="rId3"/>
                </a:rPr>
                <a:t>https://berg-macher.com/agile-organisation-7-praxis-tipps-fuer-die-erfolgreiche-transformation/</a:t>
              </a:r>
              <a:endParaRPr lang="de-DE" sz="8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5E6E2C6-9FD8-4513-88C8-E7B6A6B7E8B7}"/>
              </a:ext>
            </a:extLst>
          </p:cNvPr>
          <p:cNvGrpSpPr/>
          <p:nvPr/>
        </p:nvGrpSpPr>
        <p:grpSpPr>
          <a:xfrm>
            <a:off x="6251331" y="1789175"/>
            <a:ext cx="4958862" cy="4157586"/>
            <a:chOff x="6251331" y="1789175"/>
            <a:chExt cx="4958862" cy="4157586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47C20B24-EBEE-4763-80CC-315669044F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47" t="4918" r="6605" b="2682"/>
            <a:stretch/>
          </p:blipFill>
          <p:spPr>
            <a:xfrm>
              <a:off x="6251331" y="1789175"/>
              <a:ext cx="4492869" cy="3777648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B58D50D7-0414-4C79-971D-C9905784A20D}"/>
                </a:ext>
              </a:extLst>
            </p:cNvPr>
            <p:cNvSpPr txBox="1"/>
            <p:nvPr/>
          </p:nvSpPr>
          <p:spPr>
            <a:xfrm>
              <a:off x="6251331" y="5566823"/>
              <a:ext cx="4958862" cy="3799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hlinkClick r:id="rId5"/>
                </a:rPr>
                <a:t>https://www.lmz-bw.de/medienbildung/themen-von-f-bis-z/medienbildung-theoretische-grundlagen/definitionen-von-medienkompetenz-und-methoden/methoden/feedback-hand</a:t>
              </a:r>
              <a:endParaRPr lang="de-DE" sz="800" dirty="0">
                <a:solidFill>
                  <a:schemeClr val="tx2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EEA95E28-9D04-4E72-B79C-F46C70006C0A}"/>
                </a:ext>
              </a:extLst>
            </p:cNvPr>
            <p:cNvSpPr/>
            <p:nvPr/>
          </p:nvSpPr>
          <p:spPr>
            <a:xfrm>
              <a:off x="9117623" y="4387362"/>
              <a:ext cx="1826812" cy="11794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010103972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methode</a:t>
            </a:r>
            <a:br>
              <a:rPr lang="de-DE" dirty="0"/>
            </a:br>
            <a:r>
              <a:rPr lang="de-DE" dirty="0"/>
              <a:t>Ampel Feedback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04</a:t>
            </a:fld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A1786A5B-B6D4-45DC-8647-EB0FD8B65252}"/>
              </a:ext>
            </a:extLst>
          </p:cNvPr>
          <p:cNvGrpSpPr/>
          <p:nvPr/>
        </p:nvGrpSpPr>
        <p:grpSpPr>
          <a:xfrm>
            <a:off x="5517842" y="2273489"/>
            <a:ext cx="2390931" cy="3985150"/>
            <a:chOff x="6730584" y="2050892"/>
            <a:chExt cx="2390931" cy="3985150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183C54C9-073F-4C0E-BF8F-EC8FD1859B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rcRect l="1801" r="53185"/>
            <a:stretch/>
          </p:blipFill>
          <p:spPr>
            <a:xfrm>
              <a:off x="6730584" y="2050892"/>
              <a:ext cx="2390931" cy="3985150"/>
            </a:xfrm>
            <a:prstGeom prst="rect">
              <a:avLst/>
            </a:prstGeom>
          </p:spPr>
        </p:pic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70B424B7-39A1-4BD7-B026-3A1856C92031}"/>
                </a:ext>
              </a:extLst>
            </p:cNvPr>
            <p:cNvSpPr/>
            <p:nvPr/>
          </p:nvSpPr>
          <p:spPr>
            <a:xfrm>
              <a:off x="7543799" y="2633146"/>
              <a:ext cx="771994" cy="801974"/>
            </a:xfrm>
            <a:prstGeom prst="ellipse">
              <a:avLst/>
            </a:prstGeom>
            <a:solidFill>
              <a:srgbClr val="D817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3F6D60FD-DED9-4951-A956-61C6C3942897}"/>
                </a:ext>
              </a:extLst>
            </p:cNvPr>
            <p:cNvSpPr/>
            <p:nvPr/>
          </p:nvSpPr>
          <p:spPr>
            <a:xfrm>
              <a:off x="7543799" y="3667999"/>
              <a:ext cx="771994" cy="801974"/>
            </a:xfrm>
            <a:prstGeom prst="ellipse">
              <a:avLst/>
            </a:prstGeom>
            <a:solidFill>
              <a:srgbClr val="FFE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F15AE5DD-9231-444B-BC6A-08B7A709A7AA}"/>
                </a:ext>
              </a:extLst>
            </p:cNvPr>
            <p:cNvSpPr/>
            <p:nvPr/>
          </p:nvSpPr>
          <p:spPr>
            <a:xfrm>
              <a:off x="7543799" y="4702852"/>
              <a:ext cx="771994" cy="801974"/>
            </a:xfrm>
            <a:prstGeom prst="ellipse">
              <a:avLst/>
            </a:prstGeom>
            <a:solidFill>
              <a:srgbClr val="1ABA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</p:grp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5472112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Methode zur Reflexion mit drei Farben</a:t>
            </a:r>
          </a:p>
          <a:p>
            <a:r>
              <a:rPr lang="de-DE" sz="1600" dirty="0"/>
              <a:t>Möglichkeit zur individuellen Anpassung an die Situation</a:t>
            </a:r>
          </a:p>
          <a:p>
            <a:r>
              <a:rPr lang="de-DE" sz="1600" dirty="0"/>
              <a:t>Bedenke: Du bist </a:t>
            </a:r>
            <a:r>
              <a:rPr lang="de-DE" sz="1600" dirty="0" err="1"/>
              <a:t>Lernbegleiter:in</a:t>
            </a:r>
            <a:r>
              <a:rPr lang="de-DE" sz="1600" dirty="0"/>
              <a:t> Du hilft bei der</a:t>
            </a:r>
          </a:p>
          <a:p>
            <a:pPr marL="180000" lvl="1" indent="0">
              <a:buNone/>
            </a:pPr>
            <a:r>
              <a:rPr lang="de-DE" sz="1600" dirty="0"/>
              <a:t>Entwicklung von Fähigkeiten</a:t>
            </a:r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516646-BD92-4DA6-AD7D-AFE63887A950}"/>
              </a:ext>
            </a:extLst>
          </p:cNvPr>
          <p:cNvSpPr txBox="1"/>
          <p:nvPr/>
        </p:nvSpPr>
        <p:spPr>
          <a:xfrm>
            <a:off x="5047189" y="6312500"/>
            <a:ext cx="34152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/>
              <a:t>"</a:t>
            </a:r>
            <a:r>
              <a:rPr lang="de-DE" sz="900" dirty="0">
                <a:hlinkClick r:id="rId3" tooltip="https://germansektor.blogspot.com/2019/04/ampel-check-in.html"/>
              </a:rPr>
              <a:t>Dieses Foto</a:t>
            </a:r>
            <a:r>
              <a:rPr lang="de-DE" sz="900" dirty="0"/>
              <a:t>" von Unbekannter Autor ist lizenziert gemäß </a:t>
            </a:r>
            <a:r>
              <a:rPr lang="de-DE" sz="900" dirty="0">
                <a:hlinkClick r:id="rId4" tooltip="https://creativecommons.org/licenses/by/3.0/"/>
              </a:rPr>
              <a:t>CC BY</a:t>
            </a:r>
            <a:endParaRPr lang="de-DE" sz="900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C324A32-CA40-418C-BBA7-CCEE6CDE1436}"/>
              </a:ext>
            </a:extLst>
          </p:cNvPr>
          <p:cNvSpPr/>
          <p:nvPr/>
        </p:nvSpPr>
        <p:spPr>
          <a:xfrm>
            <a:off x="8030812" y="2474698"/>
            <a:ext cx="3415260" cy="1074704"/>
          </a:xfrm>
          <a:prstGeom prst="rect">
            <a:avLst/>
          </a:prstGeom>
          <a:solidFill>
            <a:srgbClr val="D81717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r>
              <a:rPr lang="de-DE" sz="1200" b="1" dirty="0">
                <a:solidFill>
                  <a:schemeClr val="tx1"/>
                </a:solidFill>
              </a:rPr>
              <a:t>Rot</a:t>
            </a:r>
          </a:p>
          <a:p>
            <a:pPr marL="285750" indent="-285750">
              <a:buFontTx/>
              <a:buChar char="-"/>
            </a:pPr>
            <a:r>
              <a:rPr lang="de-DE" sz="1200" dirty="0">
                <a:solidFill>
                  <a:schemeClr val="tx1"/>
                </a:solidFill>
              </a:rPr>
              <a:t>Nicht gut</a:t>
            </a:r>
          </a:p>
          <a:p>
            <a:pPr marL="285750" indent="-285750">
              <a:buFontTx/>
              <a:buChar char="-"/>
            </a:pPr>
            <a:r>
              <a:rPr lang="de-DE" sz="1200" dirty="0">
                <a:solidFill>
                  <a:schemeClr val="tx1"/>
                </a:solidFill>
              </a:rPr>
              <a:t>Potential zur Verbesserung, weil …</a:t>
            </a:r>
          </a:p>
          <a:p>
            <a:pPr marL="285750" indent="-285750">
              <a:buFontTx/>
              <a:buChar char="-"/>
            </a:pPr>
            <a:r>
              <a:rPr lang="de-DE" sz="1200" dirty="0">
                <a:solidFill>
                  <a:schemeClr val="tx1"/>
                </a:solidFill>
              </a:rPr>
              <a:t>Potential zur Entwicklung ist groß, weil …</a:t>
            </a:r>
          </a:p>
          <a:p>
            <a:pPr marL="285750" indent="-285750">
              <a:buFontTx/>
              <a:buChar char="-"/>
            </a:pPr>
            <a:r>
              <a:rPr lang="de-DE" sz="1200" dirty="0">
                <a:solidFill>
                  <a:schemeClr val="tx1"/>
                </a:solidFill>
              </a:rPr>
              <a:t>Ich habe es nicht verstanden, weil …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1499E809-FAA6-4A41-A887-D07DACA23E4C}"/>
              </a:ext>
            </a:extLst>
          </p:cNvPr>
          <p:cNvSpPr/>
          <p:nvPr/>
        </p:nvSpPr>
        <p:spPr>
          <a:xfrm>
            <a:off x="1980542" y="3455079"/>
            <a:ext cx="3415260" cy="1237491"/>
          </a:xfrm>
          <a:prstGeom prst="rect">
            <a:avLst/>
          </a:prstGeom>
          <a:solidFill>
            <a:srgbClr val="FFE001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r>
              <a:rPr lang="de-DE" sz="1200" b="1" dirty="0">
                <a:solidFill>
                  <a:schemeClr val="tx1"/>
                </a:solidFill>
              </a:rPr>
              <a:t>Gelb</a:t>
            </a:r>
          </a:p>
          <a:p>
            <a:pPr marL="285750" indent="-285750">
              <a:buFontTx/>
              <a:buChar char="-"/>
            </a:pPr>
            <a:r>
              <a:rPr lang="de-DE" sz="1200" dirty="0">
                <a:solidFill>
                  <a:schemeClr val="tx1"/>
                </a:solidFill>
              </a:rPr>
              <a:t>Nicht gut, aber auch nicht schlecht</a:t>
            </a:r>
          </a:p>
          <a:p>
            <a:pPr marL="285750" indent="-285750">
              <a:buFontTx/>
              <a:buChar char="-"/>
            </a:pPr>
            <a:r>
              <a:rPr lang="de-DE" sz="1200" dirty="0">
                <a:solidFill>
                  <a:schemeClr val="tx1"/>
                </a:solidFill>
              </a:rPr>
              <a:t>Etwas Potential zur Verbesserung, weil …</a:t>
            </a:r>
          </a:p>
          <a:p>
            <a:pPr marL="285750" indent="-285750">
              <a:buFontTx/>
              <a:buChar char="-"/>
            </a:pPr>
            <a:r>
              <a:rPr lang="de-DE" sz="1200" dirty="0">
                <a:solidFill>
                  <a:schemeClr val="tx1"/>
                </a:solidFill>
              </a:rPr>
              <a:t>Potential zur Entwicklung ist kaum vorhanden, weil …</a:t>
            </a:r>
          </a:p>
          <a:p>
            <a:pPr marL="285750" indent="-285750">
              <a:buFontTx/>
              <a:buChar char="-"/>
            </a:pPr>
            <a:r>
              <a:rPr lang="de-DE" sz="1200" dirty="0">
                <a:solidFill>
                  <a:schemeClr val="tx1"/>
                </a:solidFill>
              </a:rPr>
              <a:t>Ich habe fast alles verstanden, weil …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00AA32A-35DB-4FAC-A93C-020805773C9F}"/>
              </a:ext>
            </a:extLst>
          </p:cNvPr>
          <p:cNvSpPr/>
          <p:nvPr/>
        </p:nvSpPr>
        <p:spPr>
          <a:xfrm>
            <a:off x="8030812" y="4731671"/>
            <a:ext cx="3415260" cy="1237491"/>
          </a:xfrm>
          <a:prstGeom prst="rect">
            <a:avLst/>
          </a:prstGeom>
          <a:solidFill>
            <a:srgbClr val="1ABA01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r>
              <a:rPr lang="de-DE" sz="1200" b="1" dirty="0">
                <a:solidFill>
                  <a:schemeClr val="tx1"/>
                </a:solidFill>
              </a:rPr>
              <a:t>Grün</a:t>
            </a:r>
          </a:p>
          <a:p>
            <a:pPr marL="285750" indent="-285750">
              <a:buFontTx/>
              <a:buChar char="-"/>
            </a:pPr>
            <a:r>
              <a:rPr lang="de-DE" sz="1200" dirty="0">
                <a:solidFill>
                  <a:schemeClr val="tx1"/>
                </a:solidFill>
              </a:rPr>
              <a:t>Ist gut gelaufen</a:t>
            </a:r>
          </a:p>
          <a:p>
            <a:pPr marL="285750" indent="-285750">
              <a:buFontTx/>
              <a:buChar char="-"/>
            </a:pPr>
            <a:r>
              <a:rPr lang="de-DE" sz="1200" dirty="0">
                <a:solidFill>
                  <a:schemeClr val="tx1"/>
                </a:solidFill>
              </a:rPr>
              <a:t>Kaum Potential zur Verbesserung, weil …</a:t>
            </a:r>
          </a:p>
          <a:p>
            <a:pPr marL="285750" indent="-285750">
              <a:buFontTx/>
              <a:buChar char="-"/>
            </a:pPr>
            <a:r>
              <a:rPr lang="de-DE" sz="1200" dirty="0">
                <a:solidFill>
                  <a:schemeClr val="tx1"/>
                </a:solidFill>
              </a:rPr>
              <a:t>Ich habe alles verstanden, weil …</a:t>
            </a:r>
          </a:p>
          <a:p>
            <a:pPr marL="285750" indent="-285750">
              <a:buFontTx/>
              <a:buChar char="-"/>
            </a:pPr>
            <a:r>
              <a:rPr lang="de-DE" sz="1200" dirty="0">
                <a:solidFill>
                  <a:schemeClr val="tx1"/>
                </a:solidFill>
              </a:rPr>
              <a:t>Mein Lieblingsbestandteil war XY, weil …</a:t>
            </a:r>
          </a:p>
        </p:txBody>
      </p:sp>
    </p:spTree>
    <p:extLst>
      <p:ext uri="{BB962C8B-B14F-4D97-AF65-F5344CB8AC3E}">
        <p14:creationId xmlns:p14="http://schemas.microsoft.com/office/powerpoint/2010/main" val="1623849488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methode</a:t>
            </a:r>
            <a:br>
              <a:rPr lang="de-DE" dirty="0"/>
            </a:br>
            <a:r>
              <a:rPr lang="de-DE" dirty="0"/>
              <a:t>4-Felder-Tafel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raxisanleitung Grundlagen I Nora Wehrsted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05</a:t>
            </a:fld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69E10CA4-4E00-4050-A223-4ABD4E627D62}"/>
              </a:ext>
            </a:extLst>
          </p:cNvPr>
          <p:cNvSpPr txBox="1"/>
          <p:nvPr/>
        </p:nvSpPr>
        <p:spPr>
          <a:xfrm>
            <a:off x="623888" y="2060575"/>
            <a:ext cx="10944224" cy="3572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EINFÜGEN</a:t>
            </a:r>
          </a:p>
        </p:txBody>
      </p:sp>
    </p:spTree>
    <p:extLst>
      <p:ext uri="{BB962C8B-B14F-4D97-AF65-F5344CB8AC3E}">
        <p14:creationId xmlns:p14="http://schemas.microsoft.com/office/powerpoint/2010/main" val="4192934091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auftrag – Fallbeispiel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Bitte bearbeite Arbeitsblatt 3 „Fallbeispiel“</a:t>
            </a:r>
          </a:p>
          <a:p>
            <a:pPr marL="342900" indent="-342900">
              <a:buAutoNum type="arabicPeriod"/>
            </a:pPr>
            <a:r>
              <a:rPr lang="de-DE" sz="1600" dirty="0"/>
              <a:t>Formuliere dazu Dein Fallbeispiel mit einem fiktiven Patienten/einer fiktiven Patientin und einer entsprechenden Tätigkeit. Überlege Dir dazu auch beispielhaft eine anzuleitende Person.</a:t>
            </a:r>
          </a:p>
          <a:p>
            <a:pPr marL="342900" indent="-342900">
              <a:buAutoNum type="arabicPeriod"/>
            </a:pPr>
            <a:r>
              <a:rPr lang="de-DE" sz="1600" dirty="0"/>
              <a:t>Du hast dafür </a:t>
            </a:r>
            <a:r>
              <a:rPr lang="de-DE" sz="1600" b="1" dirty="0"/>
              <a:t>30 Minuten Zeit</a:t>
            </a:r>
            <a:r>
              <a:rPr lang="de-DE" sz="1600" dirty="0"/>
              <a:t>.</a:t>
            </a:r>
          </a:p>
          <a:p>
            <a:pPr marL="342900" indent="-342900">
              <a:buAutoNum type="arabicPeriod"/>
            </a:pPr>
            <a:endParaRPr lang="de-DE" sz="1600" dirty="0"/>
          </a:p>
          <a:p>
            <a:pPr marL="0" indent="0">
              <a:buNone/>
            </a:pPr>
            <a:r>
              <a:rPr lang="de-DE" sz="1600" dirty="0">
                <a:sym typeface="Wingdings" panose="05000000000000000000" pitchFamily="2" charset="2"/>
              </a:rPr>
              <a:t> Dieses Fallbeispiel ist die Grundlage für die Übung zum Feedback.</a:t>
            </a: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06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B0D50A-B59D-4544-9A36-3BA76A57D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" name="Bildplatzhalter 6">
            <a:extLst>
              <a:ext uri="{FF2B5EF4-FFF2-40B4-BE49-F238E27FC236}">
                <a16:creationId xmlns:a16="http://schemas.microsoft.com/office/drawing/2014/main" id="{CBCE40D6-2468-4F1B-81B1-572ECB89F8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79" b="79"/>
          <a:stretch>
            <a:fillRect/>
          </a:stretch>
        </p:blipFill>
        <p:spPr>
          <a:xfrm>
            <a:off x="8421821" y="2013071"/>
            <a:ext cx="3208067" cy="21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08516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8B6234F-6124-42F9-91AD-4AFA814FCEE0}"/>
              </a:ext>
            </a:extLst>
          </p:cNvPr>
          <p:cNvSpPr/>
          <p:nvPr/>
        </p:nvSpPr>
        <p:spPr>
          <a:xfrm>
            <a:off x="2245767" y="3182112"/>
            <a:ext cx="1762963" cy="239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CF34225-CD78-4543-9C53-FF2890FDDF88}"/>
              </a:ext>
            </a:extLst>
          </p:cNvPr>
          <p:cNvSpPr/>
          <p:nvPr/>
        </p:nvSpPr>
        <p:spPr>
          <a:xfrm>
            <a:off x="5508955" y="4797552"/>
            <a:ext cx="1601419" cy="239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BEBB64-BEEB-4CAC-ADE8-FF9B8D4EE5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aktische Übung - Feedbac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981492E-14C5-4BCC-AD9F-215E1BE5E7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Praktische Übung in Partnerarbeit</a:t>
            </a:r>
          </a:p>
          <a:p>
            <a:pPr marL="0" indent="0">
              <a:buNone/>
            </a:pPr>
            <a:r>
              <a:rPr lang="de-DE" sz="1600" dirty="0">
                <a:latin typeface="+mj-lt"/>
              </a:rPr>
              <a:t>ERSTER TEIL</a:t>
            </a:r>
          </a:p>
          <a:p>
            <a:r>
              <a:rPr lang="de-DE" sz="1600" dirty="0"/>
              <a:t>Setzt Euch zu zweit zusammen und übt gegenseitig das Geben von Feedback.</a:t>
            </a:r>
          </a:p>
          <a:p>
            <a:r>
              <a:rPr lang="de-DE" sz="1600" dirty="0"/>
              <a:t>Nutzt dazu das 5-Finger-Feedback. Dazu eignet sich die Vorlage.</a:t>
            </a:r>
          </a:p>
          <a:p>
            <a:r>
              <a:rPr lang="de-DE" sz="1600" dirty="0"/>
              <a:t>Ihr habt 10 Minuten Zeit.</a:t>
            </a:r>
          </a:p>
          <a:p>
            <a:endParaRPr lang="de-DE" sz="1600" dirty="0"/>
          </a:p>
          <a:p>
            <a:pPr marL="0" indent="0">
              <a:buNone/>
            </a:pPr>
            <a:r>
              <a:rPr lang="de-DE" sz="1600" dirty="0">
                <a:latin typeface="+mj-lt"/>
              </a:rPr>
              <a:t>ZWEITER TEIL</a:t>
            </a:r>
          </a:p>
          <a:p>
            <a:r>
              <a:rPr lang="de-DE" sz="1600" dirty="0"/>
              <a:t>Setzt Euch zu zweit zusammen, gerne auch in einer neuen „Partnerkonstellation“.</a:t>
            </a:r>
          </a:p>
          <a:p>
            <a:r>
              <a:rPr lang="de-DE" sz="1600" dirty="0"/>
              <a:t>Übt das gegenseitige Geben von Feedback mit der WWW-Methode.</a:t>
            </a:r>
          </a:p>
          <a:p>
            <a:r>
              <a:rPr lang="de-DE" sz="1600" dirty="0"/>
              <a:t>Ihr habt dazu 10 Minuten Zeit.</a:t>
            </a:r>
          </a:p>
          <a:p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88D03B-7A87-4C17-9B55-2898E643CC1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90007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BBB127-0EE5-4A70-AD0D-C434FC73FC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51A8B2-D4EB-4078-B353-110952D5175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07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BF8BED7-7E8A-457C-A145-5C9E3C52AC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74B4B20-2FAA-4EB7-B201-08A2CA82CA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483599" y="2060575"/>
            <a:ext cx="3084513" cy="205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706899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BFF5F87-F1A3-D0DD-6E8B-1C5F22339E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CA35A28-A630-8A83-A842-C0A5BC88ADEC}"/>
              </a:ext>
            </a:extLst>
          </p:cNvPr>
          <p:cNvSpPr/>
          <p:nvPr/>
        </p:nvSpPr>
        <p:spPr>
          <a:xfrm>
            <a:off x="2245767" y="3182112"/>
            <a:ext cx="1762963" cy="239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421989A-79C6-3229-3311-788F90E9A1DB}"/>
              </a:ext>
            </a:extLst>
          </p:cNvPr>
          <p:cNvSpPr/>
          <p:nvPr/>
        </p:nvSpPr>
        <p:spPr>
          <a:xfrm>
            <a:off x="5508955" y="4797552"/>
            <a:ext cx="1601419" cy="239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4F9939C-46FD-33C4-77D0-477E86972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aktische Übung - Feedbac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90BFC68-B98C-039F-2811-CCCA5978D8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Praktische Übung in Partnerarbeit</a:t>
            </a:r>
          </a:p>
          <a:p>
            <a:pPr marL="0" indent="0">
              <a:buNone/>
            </a:pPr>
            <a:r>
              <a:rPr lang="de-DE" sz="1600" dirty="0">
                <a:latin typeface="+mj-lt"/>
              </a:rPr>
              <a:t>ERSTER TEIL</a:t>
            </a:r>
          </a:p>
          <a:p>
            <a:r>
              <a:rPr lang="de-DE" sz="1600" dirty="0"/>
              <a:t>Setzt Euch zu zweit zusammen und übt gegenseitig das Geben von Feedback.</a:t>
            </a:r>
          </a:p>
          <a:p>
            <a:r>
              <a:rPr lang="de-DE" sz="1600" dirty="0"/>
              <a:t>Nutzt dazu das 5-Finger-Feedback. Dazu eignet sich die Vorlage.</a:t>
            </a:r>
          </a:p>
          <a:p>
            <a:r>
              <a:rPr lang="de-DE" sz="1600" dirty="0"/>
              <a:t>Ihr habt 10 Minuten Zeit.</a:t>
            </a:r>
          </a:p>
          <a:p>
            <a:endParaRPr lang="de-DE" sz="1600" dirty="0"/>
          </a:p>
          <a:p>
            <a:pPr marL="0" indent="0">
              <a:buNone/>
            </a:pPr>
            <a:r>
              <a:rPr lang="de-DE" sz="1600" dirty="0">
                <a:latin typeface="+mj-lt"/>
              </a:rPr>
              <a:t>ZWEITER TEIL</a:t>
            </a:r>
          </a:p>
          <a:p>
            <a:r>
              <a:rPr lang="de-DE" sz="1600" dirty="0"/>
              <a:t>Setzt Euch zu zweit zusammen, gerne auch in einer neuen „Partnerkonstellation“.</a:t>
            </a:r>
          </a:p>
          <a:p>
            <a:r>
              <a:rPr lang="de-DE" sz="1600" dirty="0"/>
              <a:t>Übt das gegenseitige Geben von Feedback mit der WWW-Methode.</a:t>
            </a:r>
          </a:p>
          <a:p>
            <a:r>
              <a:rPr lang="de-DE" sz="1600" dirty="0"/>
              <a:t>Ihr habt dazu 10 Minuten Zeit.</a:t>
            </a:r>
          </a:p>
          <a:p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103DA8-6923-53E3-148D-0E46C31965B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90007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373BFD5-FD7B-9BBA-B72A-16E9969FA3D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BA7EC3-EE7C-CC2D-94F8-E3073DA847C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08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68B8865-FB0A-636C-1861-89647BF47B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AAE278C-E39A-6EE3-2E58-7AC2DDDE12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483599" y="2060575"/>
            <a:ext cx="3084513" cy="2056342"/>
          </a:xfrm>
          <a:prstGeom prst="rect">
            <a:avLst/>
          </a:prstGeom>
        </p:spPr>
      </p:pic>
      <p:sp>
        <p:nvSpPr>
          <p:cNvPr id="9" name="Denkblase: wolkenförmig 8">
            <a:extLst>
              <a:ext uri="{FF2B5EF4-FFF2-40B4-BE49-F238E27FC236}">
                <a16:creationId xmlns:a16="http://schemas.microsoft.com/office/drawing/2014/main" id="{01DCC0A5-31E5-2075-F2E1-04FE96E48EDE}"/>
              </a:ext>
            </a:extLst>
          </p:cNvPr>
          <p:cNvSpPr/>
          <p:nvPr/>
        </p:nvSpPr>
        <p:spPr>
          <a:xfrm>
            <a:off x="8229600" y="249555"/>
            <a:ext cx="3837979" cy="1375257"/>
          </a:xfrm>
          <a:prstGeom prst="cloudCallout">
            <a:avLst>
              <a:gd name="adj1" fmla="val -60097"/>
              <a:gd name="adj2" fmla="val 6303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/>
              <a:t>Nutze Dein Fallbeispiel als Grundlage für die Feedback Situation</a:t>
            </a:r>
          </a:p>
        </p:txBody>
      </p:sp>
    </p:spTree>
    <p:extLst>
      <p:ext uri="{BB962C8B-B14F-4D97-AF65-F5344CB8AC3E}">
        <p14:creationId xmlns:p14="http://schemas.microsoft.com/office/powerpoint/2010/main" val="1971644215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A123EFDC-BBF0-433B-9D6D-9EDE738A81B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24998" r="24998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C44037E5-19A7-48E9-BB98-599DDD31EC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4200" dirty="0"/>
              <a:t>Handlungs-kompetenz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5173786D-D9E4-4C9E-AC84-B15D020E97D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3264271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469E3FE-98CD-4882-8108-C2231CB12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469E3FE-98CD-4882-8108-C2231CB12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C7BA182-EAB4-46B4-BD66-B4553C45C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nleitung vs. Begleitung</a:t>
            </a:r>
          </a:p>
        </p:txBody>
      </p:sp>
      <p:graphicFrame>
        <p:nvGraphicFramePr>
          <p:cNvPr id="3" name="Inhaltsplatzhalter 2">
            <a:extLst>
              <a:ext uri="{FF2B5EF4-FFF2-40B4-BE49-F238E27FC236}">
                <a16:creationId xmlns:a16="http://schemas.microsoft.com/office/drawing/2014/main" id="{03D808C9-B46A-4587-8B49-C0B2E6399CE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23888" y="1667384"/>
          <a:ext cx="10944225" cy="44812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2780">
                  <a:extLst>
                    <a:ext uri="{9D8B030D-6E8A-4147-A177-3AD203B41FA5}">
                      <a16:colId xmlns:a16="http://schemas.microsoft.com/office/drawing/2014/main" val="3987331471"/>
                    </a:ext>
                  </a:extLst>
                </a:gridCol>
                <a:gridCol w="4438835">
                  <a:extLst>
                    <a:ext uri="{9D8B030D-6E8A-4147-A177-3AD203B41FA5}">
                      <a16:colId xmlns:a16="http://schemas.microsoft.com/office/drawing/2014/main" val="2325544211"/>
                    </a:ext>
                  </a:extLst>
                </a:gridCol>
                <a:gridCol w="4492610">
                  <a:extLst>
                    <a:ext uri="{9D8B030D-6E8A-4147-A177-3AD203B41FA5}">
                      <a16:colId xmlns:a16="http://schemas.microsoft.com/office/drawing/2014/main" val="1932642481"/>
                    </a:ext>
                  </a:extLst>
                </a:gridCol>
              </a:tblGrid>
              <a:tr h="396940"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Praxisanl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Praxisbeglei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9524416"/>
                  </a:ext>
                </a:extLst>
              </a:tr>
              <a:tr h="685130">
                <a:tc>
                  <a:txBody>
                    <a:bodyPr/>
                    <a:lstStyle/>
                    <a:p>
                      <a:r>
                        <a:rPr lang="de-DE" sz="1600" b="1" dirty="0"/>
                        <a:t>Aufgaben </a:t>
                      </a:r>
                      <a:r>
                        <a:rPr lang="de-DE" sz="1600" b="1" dirty="0" err="1"/>
                        <a:t>Praxisanleiter:in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Einführung in das Berufsfel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Verknüpfung von Theorie und Praxi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Hilfe zur Entwicklung personen- und prozessorientierter Gestaltung der beruflichen Praxi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Begleitung individueller Lernerfahrungen der Lernend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Vermittlung praktischen Fachwissens unter Berücksichtigung theoretischer Inhalt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Reflexion von Praxiserfahrungen und Aufarbeitung von Praxisproblemen im Umgang mit zu pflegenden Menschen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Aufarbeitung durch Reflexion von Prozesserfahrungen im Sinne der Praxisziele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Klärung des Rollenverständnisses und des Berufsbildes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Förderung der Persönlichkeitsentwicklung der Lernend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2905067"/>
                  </a:ext>
                </a:extLst>
              </a:tr>
              <a:tr h="685130">
                <a:tc>
                  <a:txBody>
                    <a:bodyPr/>
                    <a:lstStyle/>
                    <a:p>
                      <a:r>
                        <a:rPr lang="de-DE" sz="1600" b="1" dirty="0"/>
                        <a:t>Tägliche Aufgaben der Praxisanleitung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Planung von Inhalten und Anforderungen der praktischen Einsätze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Kommunikation und Beziehungsaufbau mit den Lernenden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Erfüllung des Anspruchs Ratgeber/in und Ansprechpartner/in zu sein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Festlegung von Standards für die Begleitung der Lernenden im Praxiseinsatz (z.B. Erst-, Zwischen- und Nachgespräch)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Auswertungen von Einzelbetreuungen und Gruppenbegleitung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3116558"/>
                  </a:ext>
                </a:extLst>
              </a:tr>
            </a:tbl>
          </a:graphicData>
        </a:graphic>
      </p:graphicFrame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6F8098-73F7-4DF5-98D5-05126E37FE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B69332F-3E3A-447E-B968-6EFD28068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2857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AD1728A-0DD4-4D1D-A6F7-D52F2F1BB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D0DF012-11E9-4600-B563-7CEBD603F098}"/>
              </a:ext>
            </a:extLst>
          </p:cNvPr>
          <p:cNvSpPr txBox="1"/>
          <p:nvPr/>
        </p:nvSpPr>
        <p:spPr>
          <a:xfrm>
            <a:off x="2874936" y="6258639"/>
            <a:ext cx="666530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800" dirty="0">
                <a:solidFill>
                  <a:schemeClr val="tx2"/>
                </a:solidFill>
              </a:rPr>
              <a:t>Vgl. </a:t>
            </a:r>
            <a:r>
              <a:rPr lang="de-DE" sz="800" dirty="0" err="1">
                <a:solidFill>
                  <a:schemeClr val="tx2"/>
                </a:solidFill>
              </a:rPr>
              <a:t>Schewior</a:t>
            </a:r>
            <a:r>
              <a:rPr lang="de-DE" sz="800" dirty="0">
                <a:solidFill>
                  <a:schemeClr val="tx2"/>
                </a:solidFill>
              </a:rPr>
              <a:t>-Popp, S. (2014), S. 36; Vgl. Denzel, S. (2019), S. 14 f., Vgl. Klein, Z./Peters, M./Garcia González, D./Dauer, B. (2021), S. 13</a:t>
            </a:r>
          </a:p>
        </p:txBody>
      </p:sp>
    </p:spTree>
    <p:extLst>
      <p:ext uri="{BB962C8B-B14F-4D97-AF65-F5344CB8AC3E}">
        <p14:creationId xmlns:p14="http://schemas.microsoft.com/office/powerpoint/2010/main" val="3622363106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kompetenz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1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134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6657C2B7-4D8F-4CB8-998C-65CCCFBA5B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5304315"/>
              </p:ext>
            </p:extLst>
          </p:nvPr>
        </p:nvGraphicFramePr>
        <p:xfrm>
          <a:off x="2601561" y="1622051"/>
          <a:ext cx="6988876" cy="44457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21390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kompetenz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1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134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6657C2B7-4D8F-4CB8-998C-65CCCFBA5BB5}"/>
              </a:ext>
            </a:extLst>
          </p:cNvPr>
          <p:cNvGraphicFramePr/>
          <p:nvPr/>
        </p:nvGraphicFramePr>
        <p:xfrm>
          <a:off x="2601561" y="1622051"/>
          <a:ext cx="6988876" cy="44457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B050209-6DBA-476B-83B6-A303D4E02289}"/>
              </a:ext>
            </a:extLst>
          </p:cNvPr>
          <p:cNvSpPr/>
          <p:nvPr/>
        </p:nvSpPr>
        <p:spPr>
          <a:xfrm>
            <a:off x="7773259" y="1375474"/>
            <a:ext cx="4316163" cy="2053525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E2ED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Fähigkeit, systematische &amp; konsequente Vorgehens-/Verfahrensweisen zu erreich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Ökonomische &amp; ökologische Gestaltung von Tätigkeit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Planung &amp; Strukturierung von Arbeitsabläuf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Gesprächsführung &amp;Informationswiedergab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Denk- &amp; Reflexionsfähigkei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Anwendung von Arbeitsmaterialien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47080C15-306A-4A49-BDBF-ED73EAF7CE86}"/>
              </a:ext>
            </a:extLst>
          </p:cNvPr>
          <p:cNvSpPr/>
          <p:nvPr/>
        </p:nvSpPr>
        <p:spPr>
          <a:xfrm>
            <a:off x="7773260" y="3961064"/>
            <a:ext cx="4316162" cy="2649028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E0E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Fähigkeit, soziale Beziehungen zu leben/zu gestalten, Teamfähigkei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Interkulturelle &amp; ethische Kompetenz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Emotionale Kompetenz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Reflexion von Nähe &amp; Distanz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Erfassen, verstehen von Spannungen, Auseinandersetzung damit, Konfliktfähigkei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Entwicklung sozialer Verantwortu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Empathie, Toleranz, Solidaritä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Kommunikationsfähigkei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Umgang mit Arbeitsmaterialien (auch mit anderen)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47EB7375-A2E3-486A-AF18-8C4A01F718CD}"/>
              </a:ext>
            </a:extLst>
          </p:cNvPr>
          <p:cNvSpPr/>
          <p:nvPr/>
        </p:nvSpPr>
        <p:spPr>
          <a:xfrm>
            <a:off x="288437" y="1375475"/>
            <a:ext cx="4209514" cy="2053525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ECEB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Fachwiss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Berufliches Handeln auf Grundlage von erworbenen Qualifikation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Lösung von Aufgaben zielorientiert, methodengeleitet, sachgerecht &amp; selbstständi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Praktische Fähig- &amp; Fertigkeit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Arbeitsmaterialien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8DA3889-16BB-438D-92C0-888C7539E9F9}"/>
              </a:ext>
            </a:extLst>
          </p:cNvPr>
          <p:cNvSpPr/>
          <p:nvPr/>
        </p:nvSpPr>
        <p:spPr>
          <a:xfrm>
            <a:off x="288437" y="3961066"/>
            <a:ext cx="4209514" cy="2649026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E1D5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Fähigkeit, Chancen, Perspektiven &amp; Hürden als individuelle Persönlichkeit zu erkennen &amp; zu reflektier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Reflexion eigener Standpunkt &amp; Grenz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Erkennen &amp; Vertreten von Bedürfniss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Auseinandersetzung mit Strukturen &amp; Denkmuster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Eigenständigkeit, Kritikfähigkeit, Selbstvertrauen, Lernkompetenz, Zuverlässigkeit, Verantwortungs- &amp; Pflichtgefühl</a:t>
            </a:r>
          </a:p>
        </p:txBody>
      </p:sp>
      <p:sp>
        <p:nvSpPr>
          <p:cNvPr id="13" name="Legende: Linie 12">
            <a:extLst>
              <a:ext uri="{FF2B5EF4-FFF2-40B4-BE49-F238E27FC236}">
                <a16:creationId xmlns:a16="http://schemas.microsoft.com/office/drawing/2014/main" id="{910A0249-ECF3-4A91-92AA-433C9D3191E4}"/>
              </a:ext>
            </a:extLst>
          </p:cNvPr>
          <p:cNvSpPr/>
          <p:nvPr/>
        </p:nvSpPr>
        <p:spPr>
          <a:xfrm>
            <a:off x="4790420" y="1195788"/>
            <a:ext cx="1181006" cy="483073"/>
          </a:xfrm>
          <a:prstGeom prst="borderCallout1">
            <a:avLst>
              <a:gd name="adj1" fmla="val -500"/>
              <a:gd name="adj2" fmla="val 853"/>
              <a:gd name="adj3" fmla="val 112500"/>
              <a:gd name="adj4" fmla="val -38333"/>
            </a:avLst>
          </a:prstGeom>
          <a:solidFill>
            <a:srgbClr val="ECEBF3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ie?</a:t>
            </a:r>
          </a:p>
        </p:txBody>
      </p:sp>
      <p:sp>
        <p:nvSpPr>
          <p:cNvPr id="14" name="Legende: Linie 13">
            <a:extLst>
              <a:ext uri="{FF2B5EF4-FFF2-40B4-BE49-F238E27FC236}">
                <a16:creationId xmlns:a16="http://schemas.microsoft.com/office/drawing/2014/main" id="{C95198AB-B08D-45D8-B439-07860D313CBD}"/>
              </a:ext>
            </a:extLst>
          </p:cNvPr>
          <p:cNvSpPr/>
          <p:nvPr/>
        </p:nvSpPr>
        <p:spPr>
          <a:xfrm>
            <a:off x="4790420" y="6127019"/>
            <a:ext cx="1181006" cy="483073"/>
          </a:xfrm>
          <a:prstGeom prst="borderCallout1">
            <a:avLst>
              <a:gd name="adj1" fmla="val 100561"/>
              <a:gd name="adj2" fmla="val 853"/>
              <a:gd name="adj3" fmla="val -47914"/>
              <a:gd name="adj4" fmla="val -36364"/>
            </a:avLst>
          </a:prstGeom>
          <a:solidFill>
            <a:srgbClr val="E1D5D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er?</a:t>
            </a:r>
          </a:p>
        </p:txBody>
      </p:sp>
      <p:sp>
        <p:nvSpPr>
          <p:cNvPr id="15" name="Legende: Linie 14">
            <a:extLst>
              <a:ext uri="{FF2B5EF4-FFF2-40B4-BE49-F238E27FC236}">
                <a16:creationId xmlns:a16="http://schemas.microsoft.com/office/drawing/2014/main" id="{334613FB-92E7-4719-973D-277FF9447F38}"/>
              </a:ext>
            </a:extLst>
          </p:cNvPr>
          <p:cNvSpPr/>
          <p:nvPr/>
        </p:nvSpPr>
        <p:spPr>
          <a:xfrm>
            <a:off x="6263895" y="1195787"/>
            <a:ext cx="1181006" cy="483073"/>
          </a:xfrm>
          <a:prstGeom prst="borderCallout1">
            <a:avLst>
              <a:gd name="adj1" fmla="val -500"/>
              <a:gd name="adj2" fmla="val 100587"/>
              <a:gd name="adj3" fmla="val 107688"/>
              <a:gd name="adj4" fmla="val 138171"/>
            </a:avLst>
          </a:prstGeom>
          <a:solidFill>
            <a:srgbClr val="E2EDEB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as?</a:t>
            </a:r>
          </a:p>
        </p:txBody>
      </p:sp>
      <p:sp>
        <p:nvSpPr>
          <p:cNvPr id="16" name="Legende: Linie 15">
            <a:extLst>
              <a:ext uri="{FF2B5EF4-FFF2-40B4-BE49-F238E27FC236}">
                <a16:creationId xmlns:a16="http://schemas.microsoft.com/office/drawing/2014/main" id="{717B3BAD-BA19-4888-A0A8-61D794E947C7}"/>
              </a:ext>
            </a:extLst>
          </p:cNvPr>
          <p:cNvSpPr/>
          <p:nvPr/>
        </p:nvSpPr>
        <p:spPr>
          <a:xfrm>
            <a:off x="6263895" y="6127019"/>
            <a:ext cx="1181006" cy="483073"/>
          </a:xfrm>
          <a:prstGeom prst="borderCallout1">
            <a:avLst>
              <a:gd name="adj1" fmla="val 98956"/>
              <a:gd name="adj2" fmla="val 100587"/>
              <a:gd name="adj3" fmla="val -44705"/>
              <a:gd name="adj4" fmla="val 133578"/>
            </a:avLst>
          </a:prstGeom>
          <a:solidFill>
            <a:srgbClr val="E0E7D9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ie?</a:t>
            </a:r>
          </a:p>
        </p:txBody>
      </p:sp>
    </p:spTree>
    <p:extLst>
      <p:ext uri="{BB962C8B-B14F-4D97-AF65-F5344CB8AC3E}">
        <p14:creationId xmlns:p14="http://schemas.microsoft.com/office/powerpoint/2010/main" val="3595924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50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000"/>
                            </p:stCondLst>
                            <p:childTnLst>
                              <p:par>
                                <p:cTn id="5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3500"/>
                            </p:stCondLst>
                            <p:childTnLst>
                              <p:par>
                                <p:cTn id="63" presetID="2" presetClass="entr" presetSubtype="9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00"/>
                            </p:stCondLst>
                            <p:childTnLst>
                              <p:par>
                                <p:cTn id="7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500"/>
                            </p:stCondLst>
                            <p:childTnLst>
                              <p:par>
                                <p:cTn id="8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2000"/>
                            </p:stCondLst>
                            <p:childTnLst>
                              <p:par>
                                <p:cTn id="8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500"/>
                            </p:stCondLst>
                            <p:childTnLst>
                              <p:par>
                                <p:cTn id="8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3000"/>
                            </p:stCondLst>
                            <p:childTnLst>
                              <p:par>
                                <p:cTn id="9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3500"/>
                            </p:stCondLst>
                            <p:childTnLst>
                              <p:par>
                                <p:cTn id="9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4000"/>
                            </p:stCondLst>
                            <p:childTnLst>
                              <p:par>
                                <p:cTn id="10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4500"/>
                            </p:stCondLst>
                            <p:childTnLst>
                              <p:par>
                                <p:cTn id="10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5000"/>
                            </p:stCondLst>
                            <p:childTnLst>
                              <p:par>
                                <p:cTn id="109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500"/>
                            </p:stCondLst>
                            <p:childTnLst>
                              <p:par>
                                <p:cTn id="1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1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1000"/>
                            </p:stCondLst>
                            <p:childTnLst>
                              <p:par>
                                <p:cTn id="1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5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500"/>
                            </p:stCondLst>
                            <p:childTnLst>
                              <p:par>
                                <p:cTn id="1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9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2000"/>
                            </p:stCondLst>
                            <p:childTnLst>
                              <p:par>
                                <p:cTn id="1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3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2500"/>
                            </p:stCondLst>
                            <p:childTnLst>
                              <p:par>
                                <p:cTn id="1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7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3000"/>
                            </p:stCondLst>
                            <p:childTnLst>
                              <p:par>
                                <p:cTn id="139" presetID="2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kompetenz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12</a:t>
            </a:fld>
            <a:endParaRPr lang="de-DE" dirty="0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9702BA55-91BD-4C36-9B32-3D326436A9A5}"/>
              </a:ext>
            </a:extLst>
          </p:cNvPr>
          <p:cNvSpPr/>
          <p:nvPr/>
        </p:nvSpPr>
        <p:spPr>
          <a:xfrm>
            <a:off x="497150" y="2299317"/>
            <a:ext cx="7679185" cy="967666"/>
          </a:xfrm>
          <a:prstGeom prst="roundRect">
            <a:avLst/>
          </a:prstGeom>
          <a:solidFill>
            <a:srgbClr val="C8E4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8F3E26F9-EA7C-4FEF-8253-5F3D29272B1C}"/>
              </a:ext>
            </a:extLst>
          </p:cNvPr>
          <p:cNvSpPr/>
          <p:nvPr/>
        </p:nvSpPr>
        <p:spPr>
          <a:xfrm>
            <a:off x="497148" y="3366117"/>
            <a:ext cx="7679185" cy="133017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09B69C02-924E-4A92-BBDD-9D994F58FBB2}"/>
              </a:ext>
            </a:extLst>
          </p:cNvPr>
          <p:cNvSpPr/>
          <p:nvPr/>
        </p:nvSpPr>
        <p:spPr>
          <a:xfrm>
            <a:off x="497148" y="4783849"/>
            <a:ext cx="7679185" cy="96766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8001366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Fachkompetenz</a:t>
            </a:r>
          </a:p>
          <a:p>
            <a:pPr marL="0" indent="0">
              <a:buNone/>
            </a:pPr>
            <a:r>
              <a:rPr lang="de-DE" sz="1600" b="1" dirty="0"/>
              <a:t>Ziel:</a:t>
            </a:r>
          </a:p>
          <a:p>
            <a:r>
              <a:rPr lang="de-DE" sz="1600" dirty="0" err="1"/>
              <a:t>Anzuleitende:r</a:t>
            </a:r>
            <a:r>
              <a:rPr lang="de-DE" sz="1600" dirty="0"/>
              <a:t> kennt die Gründe, warum Tätigkeit XYZ durchgeführt wird und beschreibt diese.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Methode:</a:t>
            </a:r>
          </a:p>
          <a:p>
            <a:r>
              <a:rPr lang="de-DE" sz="1600" dirty="0"/>
              <a:t>Lernauftrag im Vorgespräch klären</a:t>
            </a:r>
          </a:p>
          <a:p>
            <a:r>
              <a:rPr lang="de-DE" sz="1600" dirty="0" err="1"/>
              <a:t>Anzuleitende:r</a:t>
            </a:r>
            <a:r>
              <a:rPr lang="de-DE" sz="1600" dirty="0"/>
              <a:t> erklärt mit eigenen Worten kurz die Definition, Indikation, Kontraindikation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Konkret:</a:t>
            </a:r>
          </a:p>
          <a:p>
            <a:r>
              <a:rPr lang="de-DE" sz="1600" dirty="0"/>
              <a:t>Abfrage der Fachkompetenz ist bereits mit Auszubildenden Lisa erfolgt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6D00CF4-3778-4D7A-AC03-B85C091708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3657893"/>
              </p:ext>
            </p:extLst>
          </p:nvPr>
        </p:nvGraphicFramePr>
        <p:xfrm>
          <a:off x="8396654" y="2162907"/>
          <a:ext cx="3620460" cy="31047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62795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kompetenz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13</a:t>
            </a:fld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CE80BC95-E19C-4C53-BB5C-342FDC655AFB}"/>
              </a:ext>
            </a:extLst>
          </p:cNvPr>
          <p:cNvSpPr/>
          <p:nvPr/>
        </p:nvSpPr>
        <p:spPr>
          <a:xfrm>
            <a:off x="497150" y="2299317"/>
            <a:ext cx="8128106" cy="967666"/>
          </a:xfrm>
          <a:prstGeom prst="roundRect">
            <a:avLst/>
          </a:prstGeom>
          <a:solidFill>
            <a:srgbClr val="C8E4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1B8A7DD3-4C89-4A29-A6B2-922E0D78D4C6}"/>
              </a:ext>
            </a:extLst>
          </p:cNvPr>
          <p:cNvSpPr/>
          <p:nvPr/>
        </p:nvSpPr>
        <p:spPr>
          <a:xfrm>
            <a:off x="497148" y="3366117"/>
            <a:ext cx="8128106" cy="1036018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CBD34CEE-67C2-4218-884D-92DB5F40E4C2}"/>
              </a:ext>
            </a:extLst>
          </p:cNvPr>
          <p:cNvSpPr/>
          <p:nvPr/>
        </p:nvSpPr>
        <p:spPr>
          <a:xfrm>
            <a:off x="497148" y="4499762"/>
            <a:ext cx="8128106" cy="96766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8001366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Fachkompetenz</a:t>
            </a:r>
          </a:p>
          <a:p>
            <a:pPr marL="0" indent="0">
              <a:buNone/>
            </a:pPr>
            <a:r>
              <a:rPr lang="de-DE" sz="1600" b="1" dirty="0"/>
              <a:t>Ziel:</a:t>
            </a:r>
          </a:p>
          <a:p>
            <a:r>
              <a:rPr lang="de-DE" sz="1600" dirty="0" err="1"/>
              <a:t>Anzuleitende:r</a:t>
            </a:r>
            <a:r>
              <a:rPr lang="de-DE" sz="1600" dirty="0"/>
              <a:t> kennt die Indikationen und Kontraindikationen einer pflegerischen Tätigkeit und benennt diese eigenständig.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Methode:</a:t>
            </a:r>
          </a:p>
          <a:p>
            <a:r>
              <a:rPr lang="de-DE" sz="1600" dirty="0"/>
              <a:t>Wissensabfrage vor der Anleitung mittels Spiel</a:t>
            </a:r>
          </a:p>
          <a:p>
            <a:r>
              <a:rPr lang="de-DE" sz="1600" dirty="0" err="1"/>
              <a:t>Anzuleitende:r</a:t>
            </a:r>
            <a:r>
              <a:rPr lang="de-DE" sz="1600" dirty="0"/>
              <a:t> erklärt mit eigenen Worten die Definition, Indikation, Kontraindikation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Konkret:</a:t>
            </a:r>
          </a:p>
          <a:p>
            <a:r>
              <a:rPr lang="de-DE" sz="1600" dirty="0" err="1"/>
              <a:t>Anzuleitende:r</a:t>
            </a:r>
            <a:r>
              <a:rPr lang="de-DE" sz="1600" dirty="0"/>
              <a:t> vertieft mithilfe eines Legespiels/Kreuzworträtsels das Wissen</a:t>
            </a:r>
          </a:p>
          <a:p>
            <a:endParaRPr lang="de-DE" sz="1600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6D00CF4-3778-4D7A-AC03-B85C091708BC}"/>
              </a:ext>
            </a:extLst>
          </p:cNvPr>
          <p:cNvGraphicFramePr/>
          <p:nvPr/>
        </p:nvGraphicFramePr>
        <p:xfrm>
          <a:off x="8396654" y="2162907"/>
          <a:ext cx="3620460" cy="31047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43652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kompetenz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14</a:t>
            </a:fld>
            <a:endParaRPr lang="de-DE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CE97ADD8-BC74-41F5-9E43-0499A32490EC}"/>
              </a:ext>
            </a:extLst>
          </p:cNvPr>
          <p:cNvSpPr/>
          <p:nvPr/>
        </p:nvSpPr>
        <p:spPr>
          <a:xfrm>
            <a:off x="497150" y="2299317"/>
            <a:ext cx="7913443" cy="967666"/>
          </a:xfrm>
          <a:prstGeom prst="roundRect">
            <a:avLst/>
          </a:prstGeom>
          <a:solidFill>
            <a:srgbClr val="C8E4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A8B88D4-6781-4B56-B09C-12C0FA276DD6}"/>
              </a:ext>
            </a:extLst>
          </p:cNvPr>
          <p:cNvSpPr/>
          <p:nvPr/>
        </p:nvSpPr>
        <p:spPr>
          <a:xfrm>
            <a:off x="497148" y="3366117"/>
            <a:ext cx="7913443" cy="1036018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EB98B7E9-0CF6-47A8-9B31-1620B7638A2D}"/>
              </a:ext>
            </a:extLst>
          </p:cNvPr>
          <p:cNvSpPr/>
          <p:nvPr/>
        </p:nvSpPr>
        <p:spPr>
          <a:xfrm>
            <a:off x="497148" y="4501269"/>
            <a:ext cx="7913443" cy="1144929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7913443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Methodenkompetenz</a:t>
            </a:r>
          </a:p>
          <a:p>
            <a:pPr marL="0" indent="0">
              <a:buNone/>
            </a:pPr>
            <a:r>
              <a:rPr lang="de-DE" sz="1600" b="1" dirty="0"/>
              <a:t>Ziel:</a:t>
            </a:r>
          </a:p>
          <a:p>
            <a:r>
              <a:rPr lang="de-DE" sz="1600" dirty="0" err="1"/>
              <a:t>Anzuleitende:r</a:t>
            </a:r>
            <a:r>
              <a:rPr lang="de-DE" sz="1600" dirty="0"/>
              <a:t> stellt die Materialien für Tätigkeit selbstständig zusammen und richtet diese.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Methode:</a:t>
            </a:r>
          </a:p>
          <a:p>
            <a:r>
              <a:rPr lang="de-DE" sz="1600" dirty="0" err="1"/>
              <a:t>Anzuleitende:r</a:t>
            </a:r>
            <a:r>
              <a:rPr lang="de-DE" sz="1600" dirty="0"/>
              <a:t> erlernt bspw. durch 4 Stufenmethode und mithilfe von Checkliste das Zusammenstellen und Richten der Materialien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Konkret:</a:t>
            </a:r>
          </a:p>
          <a:p>
            <a:r>
              <a:rPr lang="de-DE" sz="1600" dirty="0"/>
              <a:t>Auszubildende Lisa hat bereits mehrfach mit Praxisanleitenden und mittels Checkliste Materialien zusammengestellt und gerichtet und bereitet diese heute ohne Hilfe vor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E0181C2E-2FD4-4B38-BB14-43C55464D1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1813447"/>
              </p:ext>
            </p:extLst>
          </p:nvPr>
        </p:nvGraphicFramePr>
        <p:xfrm>
          <a:off x="8396654" y="2162907"/>
          <a:ext cx="3620460" cy="31047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3670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kompetenz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91D205C2-AB48-456E-B50C-AD38179BE1DE}"/>
              </a:ext>
            </a:extLst>
          </p:cNvPr>
          <p:cNvSpPr/>
          <p:nvPr/>
        </p:nvSpPr>
        <p:spPr>
          <a:xfrm>
            <a:off x="497150" y="2299317"/>
            <a:ext cx="8142043" cy="773571"/>
          </a:xfrm>
          <a:prstGeom prst="roundRect">
            <a:avLst/>
          </a:prstGeom>
          <a:solidFill>
            <a:srgbClr val="C8E4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DC6006D7-D261-4F8D-817F-A7242134F3AF}"/>
              </a:ext>
            </a:extLst>
          </p:cNvPr>
          <p:cNvSpPr/>
          <p:nvPr/>
        </p:nvSpPr>
        <p:spPr>
          <a:xfrm>
            <a:off x="497148" y="3160451"/>
            <a:ext cx="8142043" cy="1276049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EB52DBFB-978A-4EC9-B064-616168AE3A54}"/>
              </a:ext>
            </a:extLst>
          </p:cNvPr>
          <p:cNvSpPr/>
          <p:nvPr/>
        </p:nvSpPr>
        <p:spPr>
          <a:xfrm>
            <a:off x="497148" y="4524064"/>
            <a:ext cx="8142043" cy="1227452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15</a:t>
            </a:fld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8142043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Sozialkompetenz</a:t>
            </a:r>
          </a:p>
          <a:p>
            <a:pPr marL="0" indent="0">
              <a:buNone/>
            </a:pPr>
            <a:r>
              <a:rPr lang="de-DE" sz="1600" b="1" dirty="0"/>
              <a:t>Ziel:</a:t>
            </a:r>
          </a:p>
          <a:p>
            <a:r>
              <a:rPr lang="de-DE" sz="1600" dirty="0" err="1"/>
              <a:t>Anzuleitende:r</a:t>
            </a:r>
            <a:r>
              <a:rPr lang="de-DE" sz="1600" dirty="0"/>
              <a:t> geht auf die Reaktionen und Bedürfnisse des Zuversorgenden ein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Methode:</a:t>
            </a:r>
          </a:p>
          <a:p>
            <a:r>
              <a:rPr lang="de-DE" sz="1600" dirty="0" err="1"/>
              <a:t>Anzuleitende:r</a:t>
            </a:r>
            <a:r>
              <a:rPr lang="de-DE" sz="1600" dirty="0"/>
              <a:t> beobachtet Tätigkeit sowie die Reaktion/Bedürfnisse des Zuversorgenden</a:t>
            </a:r>
          </a:p>
          <a:p>
            <a:r>
              <a:rPr lang="de-DE" sz="1600" dirty="0" err="1"/>
              <a:t>Anzuleitende:r</a:t>
            </a:r>
            <a:r>
              <a:rPr lang="de-DE" sz="1600" dirty="0"/>
              <a:t> reagiert auf die Reaktionen/Bedürfnisse des Patienten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Konkret:</a:t>
            </a:r>
          </a:p>
          <a:p>
            <a:r>
              <a:rPr lang="de-DE" sz="1600" dirty="0"/>
              <a:t>Auszubildende Lisa weiß aufgrund der häufigen Beobachtung der Tätigkeit, dass </a:t>
            </a:r>
            <a:r>
              <a:rPr lang="de-DE" sz="1600" dirty="0" err="1"/>
              <a:t>Patient:in</a:t>
            </a:r>
            <a:r>
              <a:rPr lang="de-DE" sz="1600" dirty="0"/>
              <a:t> X Reaktion Y aufweist. Lisa reagiert entsprechend und leitet die Maßnahmen ein.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FACF45F3-FD96-444E-8202-41B8BCF958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4448070"/>
              </p:ext>
            </p:extLst>
          </p:nvPr>
        </p:nvGraphicFramePr>
        <p:xfrm>
          <a:off x="8396654" y="2162907"/>
          <a:ext cx="3620460" cy="31047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26036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kompetenz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A7FA30DB-8223-4D8D-9A4C-EA9ED4F75C64}"/>
              </a:ext>
            </a:extLst>
          </p:cNvPr>
          <p:cNvSpPr/>
          <p:nvPr/>
        </p:nvSpPr>
        <p:spPr>
          <a:xfrm>
            <a:off x="497150" y="2299317"/>
            <a:ext cx="8362765" cy="967666"/>
          </a:xfrm>
          <a:prstGeom prst="roundRect">
            <a:avLst/>
          </a:prstGeom>
          <a:solidFill>
            <a:srgbClr val="C8E4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C678755F-0714-4EC5-B009-CCD2E3DA8E9C}"/>
              </a:ext>
            </a:extLst>
          </p:cNvPr>
          <p:cNvSpPr/>
          <p:nvPr/>
        </p:nvSpPr>
        <p:spPr>
          <a:xfrm>
            <a:off x="497148" y="3366117"/>
            <a:ext cx="8362765" cy="1036018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7047AA2C-8134-4814-A203-B0421A182578}"/>
              </a:ext>
            </a:extLst>
          </p:cNvPr>
          <p:cNvSpPr/>
          <p:nvPr/>
        </p:nvSpPr>
        <p:spPr>
          <a:xfrm>
            <a:off x="497148" y="4501269"/>
            <a:ext cx="8362765" cy="1224137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16</a:t>
            </a:fld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7992574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Personalkompetenz</a:t>
            </a:r>
          </a:p>
          <a:p>
            <a:pPr marL="0" indent="0">
              <a:buNone/>
            </a:pPr>
            <a:r>
              <a:rPr lang="de-DE" sz="1600" b="1" dirty="0"/>
              <a:t>Ziel:</a:t>
            </a:r>
          </a:p>
          <a:p>
            <a:r>
              <a:rPr lang="de-DE" sz="1600" dirty="0" err="1"/>
              <a:t>Anzuleitende:r</a:t>
            </a:r>
            <a:r>
              <a:rPr lang="de-DE" sz="1600" dirty="0"/>
              <a:t> erkennt die Nebenwirkung der Tätigkeit anhand der Reaktion des Zuversorgenden und kann sie einem Gefühl zuordnen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Methode:</a:t>
            </a:r>
          </a:p>
          <a:p>
            <a:r>
              <a:rPr lang="de-DE" sz="1600" dirty="0" err="1"/>
              <a:t>Anzuleitende:r</a:t>
            </a:r>
            <a:r>
              <a:rPr lang="de-DE" sz="1600" dirty="0"/>
              <a:t> kann die Gefühle benennen und die eigenen Grenzen klar machen, z.B. erschwerter Umgang mit Erbrochenem</a:t>
            </a:r>
          </a:p>
          <a:p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Konkret:</a:t>
            </a:r>
          </a:p>
          <a:p>
            <a:r>
              <a:rPr lang="de-DE" sz="1600" dirty="0"/>
              <a:t>Auszubildende Lisa kann Reaktionen von Patient X erkennen und bei der Versorgung unterstützen/Versorgung übernehmen. Lisa kennt ihre eigenen Grenzen, z.B. bei der Versorgung von Patient X mit Erbrechen und kann sich Hilfe hole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4295599-08C7-44E5-88DB-EB11847D37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2115670"/>
              </p:ext>
            </p:extLst>
          </p:nvPr>
        </p:nvGraphicFramePr>
        <p:xfrm>
          <a:off x="8396654" y="2162907"/>
          <a:ext cx="3620460" cy="31047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39290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kompetenz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1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134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</p:txBody>
      </p:sp>
      <p:sp>
        <p:nvSpPr>
          <p:cNvPr id="3" name="Legende: mit Pfeil nach unten 2">
            <a:extLst>
              <a:ext uri="{FF2B5EF4-FFF2-40B4-BE49-F238E27FC236}">
                <a16:creationId xmlns:a16="http://schemas.microsoft.com/office/drawing/2014/main" id="{F07BBEA7-A9BC-4A26-99CA-C63E57F1743F}"/>
              </a:ext>
            </a:extLst>
          </p:cNvPr>
          <p:cNvSpPr/>
          <p:nvPr/>
        </p:nvSpPr>
        <p:spPr>
          <a:xfrm>
            <a:off x="967154" y="2060575"/>
            <a:ext cx="10172700" cy="1051902"/>
          </a:xfrm>
          <a:prstGeom prst="downArrowCallou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Berufliche Handlungskompetenz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32C53D1-09C6-4B0C-9909-7D5788E0EB56}"/>
              </a:ext>
            </a:extLst>
          </p:cNvPr>
          <p:cNvSpPr/>
          <p:nvPr/>
        </p:nvSpPr>
        <p:spPr>
          <a:xfrm>
            <a:off x="967154" y="3165231"/>
            <a:ext cx="10172700" cy="21892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Die berufliche Handlungskompetenz ist die Summe aller Fertigkeiten, Wissensbestände und Erfahrungen, die zur Bewältigung beruflicher Aufgaben erforderlich ist.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Handlungskompetenz entfaltet sich in den Dimensionen von Fachkompetenz, 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ozialkompetenz und Personalkompetenz.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Methoden- und Lernkompetenz erwachsen aus einer ausgewogenen Entwicklung dieser drei Dimensionen.</a:t>
            </a:r>
          </a:p>
        </p:txBody>
      </p:sp>
    </p:spTree>
    <p:extLst>
      <p:ext uri="{BB962C8B-B14F-4D97-AF65-F5344CB8AC3E}">
        <p14:creationId xmlns:p14="http://schemas.microsoft.com/office/powerpoint/2010/main" val="936884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</p:bld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469E3FE-98CD-4882-8108-C2231CB12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469E3FE-98CD-4882-8108-C2231CB12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C7BA182-EAB4-46B4-BD66-B4553C45C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rbeitsauftrag – Handlungskompetenz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C15A2C-AD7D-47F8-81A4-677C7B1951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  <a:sym typeface="+mn-lt"/>
              </a:rPr>
              <a:t>Bitte bearbeite Arbeitsblatt 4 „Handlungskompetenz“.</a:t>
            </a:r>
          </a:p>
          <a:p>
            <a:r>
              <a:rPr lang="de-DE" sz="1600" dirty="0">
                <a:sym typeface="+mn-lt"/>
              </a:rPr>
              <a:t>Du hast für die Ausarbeitung 10 Minuten Zeit.</a:t>
            </a:r>
          </a:p>
          <a:p>
            <a:r>
              <a:rPr lang="de-DE" sz="1600" dirty="0">
                <a:sym typeface="+mn-lt"/>
              </a:rPr>
              <a:t>Bitte tausche Dich danach 5 Minuten mit Deinem/Deiner Sitznachbar/in aus.</a:t>
            </a:r>
          </a:p>
          <a:p>
            <a:r>
              <a:rPr lang="de-DE" sz="1600" dirty="0">
                <a:sym typeface="+mn-lt"/>
              </a:rPr>
              <a:t>Die Besprechung der Ergebnisse erfolgt im Plenum.</a:t>
            </a:r>
          </a:p>
          <a:p>
            <a:pPr marL="0" indent="0">
              <a:buNone/>
            </a:pPr>
            <a:endParaRPr lang="de-DE" sz="1600" dirty="0">
              <a:sym typeface="+mn-lt"/>
            </a:endParaRP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6F8098-73F7-4DF5-98D5-05126E37FE3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838039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B69332F-3E3A-447E-B968-6EFD28068C8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AD1728A-0DD4-4D1D-A6F7-D52F2F1BB60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18</a:t>
            </a:fld>
            <a:endParaRPr lang="de-DE" dirty="0"/>
          </a:p>
        </p:txBody>
      </p: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CCD7C33A-13C0-4574-9C8F-CFD0A0DDE8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5450733"/>
              </p:ext>
            </p:extLst>
          </p:nvPr>
        </p:nvGraphicFramePr>
        <p:xfrm>
          <a:off x="7920907" y="1776046"/>
          <a:ext cx="4546585" cy="31575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6BC95A22-AE65-409F-89E3-331542EE2977}"/>
              </a:ext>
            </a:extLst>
          </p:cNvPr>
          <p:cNvSpPr/>
          <p:nvPr/>
        </p:nvSpPr>
        <p:spPr>
          <a:xfrm>
            <a:off x="8818684" y="3261947"/>
            <a:ext cx="2758220" cy="211015"/>
          </a:xfrm>
          <a:prstGeom prst="rect">
            <a:avLst/>
          </a:prstGeom>
          <a:solidFill>
            <a:srgbClr val="AEA4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400" b="1" dirty="0">
                <a:solidFill>
                  <a:schemeClr val="tx1"/>
                </a:solidFill>
              </a:rPr>
              <a:t>Handlungskompetenz</a:t>
            </a:r>
            <a:endParaRPr lang="de-DE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689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etenznetz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1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dirty="0"/>
              <a:t>Bundesinstitut für Berufsbildung (BIBB) (Hrsg.) (o.J.) </a:t>
            </a:r>
            <a:r>
              <a:rPr lang="de-DE" sz="800" u="sng" dirty="0">
                <a:hlinkClick r:id="rId2"/>
              </a:rPr>
              <a:t>https://www.bibb.de/de/86408.php</a:t>
            </a:r>
            <a:endParaRPr lang="de-DE" sz="800" spc="-20" dirty="0">
              <a:solidFill>
                <a:srgbClr val="2D2846"/>
              </a:solidFill>
              <a:latin typeface="Hellix" pitchFamily="50" charset="0"/>
              <a:cs typeface="Hellix" pitchFamily="50" charset="0"/>
              <a:sym typeface="+mn-lt"/>
            </a:endParaRP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5472112" cy="3816350"/>
          </a:xfrm>
        </p:spPr>
        <p:txBody>
          <a:bodyPr/>
          <a:lstStyle/>
          <a:p>
            <a:r>
              <a:rPr lang="de-DE" sz="1600" dirty="0"/>
              <a:t>Kompetenznetz soll dazu beitragen, Kompetenzen einschätzen und auswerten zu können</a:t>
            </a:r>
          </a:p>
          <a:p>
            <a:r>
              <a:rPr lang="de-DE" sz="1600" dirty="0"/>
              <a:t>Ausführliche Erklärungen finden sich auf dem entsprechenden Bogen „Kompetenznetz“</a:t>
            </a:r>
          </a:p>
          <a:p>
            <a:r>
              <a:rPr lang="de-DE" sz="1600" dirty="0"/>
              <a:t>Das Kompetenznetz kann im Rahmen von Gesprächen mit bspw. Auszubildenden genutzt werden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AEEB4BC9-0940-4504-B71C-2169E952BC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6954149"/>
              </p:ext>
            </p:extLst>
          </p:nvPr>
        </p:nvGraphicFramePr>
        <p:xfrm>
          <a:off x="5981350" y="1274296"/>
          <a:ext cx="5813571" cy="4853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569922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D63317-8060-4E23-A7B0-D83447AB4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griffsbestimmung – Methodik vs. Didaktik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60249D8-C68A-46AE-A7FE-A6AB1EF2CC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76756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07A4B9B-3963-4A2D-AC87-204DDBDC9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5"/>
            <a:ext cx="10944224" cy="12857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4401E6-5F04-4022-B45E-A2A5D5DCA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08E30B8-9734-4767-A23F-31F6B46A3D73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Denzel, S. (2019), S. 126 f.; Vgl. Denzel, S. (2019), S. 152 f.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57BEC85-39A7-4F56-B256-EB31066CD5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1C3D2FA8-E3A6-4416-BA20-2E597889236F}"/>
              </a:ext>
            </a:extLst>
          </p:cNvPr>
          <p:cNvSpPr/>
          <p:nvPr/>
        </p:nvSpPr>
        <p:spPr>
          <a:xfrm>
            <a:off x="7322730" y="3191608"/>
            <a:ext cx="3683976" cy="268531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Wissenschaft der Methoden &amp; Verfah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Teil der Didakti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Direkte Gestaltung von Unterricht, Anleitung &amp; Bera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Planmäßig angewandte Verfahren, um Lernziele zu erreichen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36E88B3E-D8A0-43A6-BA97-2CD4E8720588}"/>
              </a:ext>
            </a:extLst>
          </p:cNvPr>
          <p:cNvSpPr/>
          <p:nvPr/>
        </p:nvSpPr>
        <p:spPr>
          <a:xfrm>
            <a:off x="6095999" y="1893275"/>
            <a:ext cx="1800000" cy="1800000"/>
          </a:xfrm>
          <a:prstGeom prst="ellipse">
            <a:avLst/>
          </a:prstGeom>
          <a:solidFill>
            <a:srgbClr val="DDD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Methodik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600E72A2-6D40-45B5-9688-CD6F55853B2A}"/>
              </a:ext>
            </a:extLst>
          </p:cNvPr>
          <p:cNvSpPr/>
          <p:nvPr/>
        </p:nvSpPr>
        <p:spPr>
          <a:xfrm>
            <a:off x="1734809" y="3191608"/>
            <a:ext cx="3683976" cy="268531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Wissenschaft vom planvollen Lehren &amp; Ler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Theorie &amp; Praxis der Gestaltung von Unterricht, Anleitung und Bera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Aktive Steuerung von Lernprozessen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9000865C-3985-47EE-A629-E373C2ADC442}"/>
              </a:ext>
            </a:extLst>
          </p:cNvPr>
          <p:cNvSpPr/>
          <p:nvPr/>
        </p:nvSpPr>
        <p:spPr>
          <a:xfrm>
            <a:off x="550066" y="1893275"/>
            <a:ext cx="1800000" cy="1800000"/>
          </a:xfrm>
          <a:prstGeom prst="ellipse">
            <a:avLst/>
          </a:prstGeom>
          <a:solidFill>
            <a:srgbClr val="DDD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Didaktik</a:t>
            </a:r>
          </a:p>
        </p:txBody>
      </p:sp>
    </p:spTree>
    <p:extLst>
      <p:ext uri="{BB962C8B-B14F-4D97-AF65-F5344CB8AC3E}">
        <p14:creationId xmlns:p14="http://schemas.microsoft.com/office/powerpoint/2010/main" val="183417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9" grpId="0" animBg="1"/>
      <p:bldP spid="11" grpId="0" animBg="1"/>
      <p:bldP spid="10" grpId="0" animBg="1"/>
    </p:bld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469E3FE-98CD-4882-8108-C2231CB12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469E3FE-98CD-4882-8108-C2231CB12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C7BA182-EAB4-46B4-BD66-B4553C45C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rweiterung der eigenen Handlungskompetenz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C15A2C-AD7D-47F8-81A4-677C7B1951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  <a:sym typeface="+mn-lt"/>
              </a:rPr>
              <a:t>Weiterführende Literatur zur Erweiterung der eigenen Handlungskompetenz</a:t>
            </a:r>
          </a:p>
          <a:p>
            <a:r>
              <a:rPr lang="de-DE" sz="1600" dirty="0" err="1">
                <a:sym typeface="+mn-lt"/>
              </a:rPr>
              <a:t>CurAP</a:t>
            </a:r>
            <a:r>
              <a:rPr lang="de-DE" sz="1600" dirty="0">
                <a:sym typeface="+mn-lt"/>
              </a:rPr>
              <a:t> (Hrsg.) (2020): Die neue Pflegeausbildung gestalten. Eine Handreichung für Praxisanleiterinnen und Praxisanleiter, Cottbus</a:t>
            </a:r>
          </a:p>
          <a:p>
            <a:endParaRPr lang="de-DE" sz="1600" dirty="0">
              <a:sym typeface="+mn-lt"/>
            </a:endParaRPr>
          </a:p>
          <a:p>
            <a:r>
              <a:rPr lang="de-DE" sz="1600" dirty="0" err="1">
                <a:sym typeface="+mn-lt"/>
              </a:rPr>
              <a:t>ArbeitGestalten</a:t>
            </a:r>
            <a:r>
              <a:rPr lang="de-DE" sz="1600" dirty="0">
                <a:sym typeface="+mn-lt"/>
              </a:rPr>
              <a:t> (Hrsg.) (2021): Pflegeausbildung in der Praxis. Handlungshilfe für Praxisanleitende, Berlin</a:t>
            </a:r>
          </a:p>
          <a:p>
            <a:endParaRPr lang="de-DE" sz="1600" dirty="0">
              <a:sym typeface="+mn-lt"/>
            </a:endParaRPr>
          </a:p>
          <a:p>
            <a:r>
              <a:rPr lang="de-DE" sz="1600" dirty="0">
                <a:sym typeface="+mn-lt"/>
              </a:rPr>
              <a:t>Landesverband der Hebammen Nordrhein-Westfalen e.V. (Hrsg.) (2022): Leitfaden Praxisanleitung, Köln</a:t>
            </a:r>
          </a:p>
          <a:p>
            <a:pPr marL="0" indent="0">
              <a:buNone/>
            </a:pPr>
            <a:endParaRPr lang="de-DE" sz="1600" dirty="0">
              <a:sym typeface="+mn-lt"/>
            </a:endParaRPr>
          </a:p>
          <a:p>
            <a:r>
              <a:rPr lang="de-DE" sz="1600" dirty="0">
                <a:sym typeface="+mn-lt"/>
              </a:rPr>
              <a:t>Dokumente des BIBB</a:t>
            </a:r>
          </a:p>
          <a:p>
            <a:pPr marL="0" indent="0">
              <a:buNone/>
            </a:pPr>
            <a:endParaRPr lang="de-DE" sz="1600" dirty="0">
              <a:sym typeface="+mn-lt"/>
            </a:endParaRP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6F8098-73F7-4DF5-98D5-05126E37FE3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838039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B69332F-3E3A-447E-B968-6EFD28068C8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AD1728A-0DD4-4D1D-A6F7-D52F2F1BB60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20</a:t>
            </a:fld>
            <a:endParaRPr lang="de-DE" dirty="0"/>
          </a:p>
        </p:txBody>
      </p:sp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AED83F21-868A-4378-A5E9-336C0606E8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l="24998" r="24998"/>
          <a:stretch>
            <a:fillRect/>
          </a:stretch>
        </p:blipFill>
        <p:spPr>
          <a:xfrm>
            <a:off x="8206353" y="2060575"/>
            <a:ext cx="3869409" cy="2576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74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1B38E842-9BA6-4632-A3C5-25A4FFACB98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058" r="1058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C44037E5-19A7-48E9-BB98-599DDD31EC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9" y="836614"/>
            <a:ext cx="4583111" cy="1818663"/>
          </a:xfrm>
        </p:spPr>
        <p:txBody>
          <a:bodyPr/>
          <a:lstStyle/>
          <a:p>
            <a:r>
              <a:rPr lang="de-DE" sz="4200" dirty="0"/>
              <a:t>Kompetenzen &amp; Kompetenz-entwicklung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DE6AB3B1-9D9A-4BAD-96F0-A0B58D0252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1135" y="2843263"/>
            <a:ext cx="4583111" cy="246221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D654A90-5510-4B8A-A6EC-E3A68A4F8607}"/>
              </a:ext>
            </a:extLst>
          </p:cNvPr>
          <p:cNvSpPr txBox="1"/>
          <p:nvPr/>
        </p:nvSpPr>
        <p:spPr>
          <a:xfrm>
            <a:off x="1894501" y="6858000"/>
            <a:ext cx="102975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/>
              <a:t>"</a:t>
            </a:r>
            <a:r>
              <a:rPr lang="de-DE" sz="900">
                <a:hlinkClick r:id="rId3" tooltip="https://cft.vanderbilt.edu/guides-sub-pages/pedagogy-for-professional-schools-and-students/"/>
              </a:rPr>
              <a:t>Dieses Foto</a:t>
            </a:r>
            <a:r>
              <a:rPr lang="de-DE" sz="900"/>
              <a:t>" von Unbekannter Autor ist lizenziert gemäß </a:t>
            </a:r>
            <a:r>
              <a:rPr lang="de-DE" sz="900">
                <a:hlinkClick r:id="rId4" tooltip="https://creativecommons.org/licenses/by-nc/3.0/"/>
              </a:rPr>
              <a:t>CC BY-NC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1173993759"/>
      </p:ext>
    </p:extLst>
  </p:cSld>
  <p:clrMapOvr>
    <a:masterClrMapping/>
  </p:clrMapOvr>
  <p:transition spd="slow">
    <p:wipe/>
  </p:transition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etenzstufen nach P. Benn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22</a:t>
            </a:fld>
            <a:endParaRPr lang="de-DE" dirty="0"/>
          </a:p>
        </p:txBody>
      </p:sp>
      <p:pic>
        <p:nvPicPr>
          <p:cNvPr id="3" name="Inhaltsplatzhalter 2">
            <a:extLst>
              <a:ext uri="{FF2B5EF4-FFF2-40B4-BE49-F238E27FC236}">
                <a16:creationId xmlns:a16="http://schemas.microsoft.com/office/drawing/2014/main" id="{9911328F-99C0-45C1-8E0D-2C4EF6449BA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470" t="809" r="622" b="2350"/>
          <a:stretch/>
        </p:blipFill>
        <p:spPr>
          <a:xfrm>
            <a:off x="623888" y="1705183"/>
            <a:ext cx="10873657" cy="365814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A5D5700-4DF8-4447-9726-5FCFB0C8BC97}"/>
              </a:ext>
            </a:extLst>
          </p:cNvPr>
          <p:cNvSpPr txBox="1"/>
          <p:nvPr/>
        </p:nvSpPr>
        <p:spPr>
          <a:xfrm>
            <a:off x="743743" y="5463710"/>
            <a:ext cx="9245537" cy="3472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000" dirty="0">
                <a:hlinkClick r:id="rId3"/>
              </a:rPr>
              <a:t>abb-03-08-pflegekompetenz-nach-benner.jpg (1000×336) (thieme.de)</a:t>
            </a:r>
            <a:endParaRPr lang="de-DE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65182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etenzstuf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2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Freund, J./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Overlander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G. (Hrsg.) (2020), S. 313</a:t>
            </a:r>
          </a:p>
        </p:txBody>
      </p:sp>
      <p:graphicFrame>
        <p:nvGraphicFramePr>
          <p:cNvPr id="3" name="Inhaltsplatzhalter 2">
            <a:extLst>
              <a:ext uri="{FF2B5EF4-FFF2-40B4-BE49-F238E27FC236}">
                <a16:creationId xmlns:a16="http://schemas.microsoft.com/office/drawing/2014/main" id="{35DA94D0-2864-4321-A54A-D3B34160EA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99061742"/>
              </p:ext>
            </p:extLst>
          </p:nvPr>
        </p:nvGraphicFramePr>
        <p:xfrm>
          <a:off x="146539" y="1705183"/>
          <a:ext cx="12045462" cy="4119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35838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101D0EB-6349-45B0-9D46-A0533426FF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graphicEl>
                                              <a:dgm id="{8101D0EB-6349-45B0-9D46-A0533426FF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7F781B7-93D8-4014-B194-56CA5549CD5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graphicEl>
                                              <a:dgm id="{B7F781B7-93D8-4014-B194-56CA5549CD5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DCDC79E5-52CD-4A3C-B843-24EDD52DA27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>
                                            <p:graphicEl>
                                              <a:dgm id="{DCDC79E5-52CD-4A3C-B843-24EDD52DA27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5AF5CF2-B4C9-4B69-A069-6C28A407F2A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">
                                            <p:graphicEl>
                                              <a:dgm id="{E5AF5CF2-B4C9-4B69-A069-6C28A407F2A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55E77BF2-B3C3-45C8-81E7-58DA03A285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">
                                            <p:graphicEl>
                                              <a:dgm id="{55E77BF2-B3C3-45C8-81E7-58DA03A285F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10DDB13-D7EC-4357-A30A-01737DEDD15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">
                                            <p:graphicEl>
                                              <a:dgm id="{110DDB13-D7EC-4357-A30A-01737DEDD15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D3EDCBDE-0E9C-44A2-98E7-EBA9C531E51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">
                                            <p:graphicEl>
                                              <a:dgm id="{D3EDCBDE-0E9C-44A2-98E7-EBA9C531E51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2FA7DD1-E555-4DDD-945D-17F95F27B18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">
                                            <p:graphicEl>
                                              <a:dgm id="{82FA7DD1-E555-4DDD-945D-17F95F27B18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3125DF7-4948-4BAB-BF5A-B5E2917FEE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">
                                            <p:graphicEl>
                                              <a:dgm id="{A3125DF7-4948-4BAB-BF5A-B5E2917FEE2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656856F-043E-4B70-9C15-EFEF42FF36E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3">
                                            <p:graphicEl>
                                              <a:dgm id="{1656856F-043E-4B70-9C15-EFEF42FF36E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78A156A-50C2-4C39-B074-5937A07F0C5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">
                                            <p:graphicEl>
                                              <a:dgm id="{E78A156A-50C2-4C39-B074-5937A07F0C5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DBB0349A-9669-4E86-8D25-A95262A5E6E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3">
                                            <p:graphicEl>
                                              <a:dgm id="{DBB0349A-9669-4E86-8D25-A95262A5E6E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C61F493-234D-40CB-A717-43E47652CD4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3">
                                            <p:graphicEl>
                                              <a:dgm id="{FC61F493-234D-40CB-A717-43E47652CD4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C8A49ED2-7C66-42C2-8457-00E571E7862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3">
                                            <p:graphicEl>
                                              <a:dgm id="{C8A49ED2-7C66-42C2-8457-00E571E7862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Dgm bld="lvlAtOnce"/>
        </p:bldSub>
      </p:bldGraphic>
    </p:bld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etenzstuf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2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Freund, J./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Overlander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G. (Hrsg.) (2020), S. 313</a:t>
            </a:r>
          </a:p>
        </p:txBody>
      </p:sp>
      <p:graphicFrame>
        <p:nvGraphicFramePr>
          <p:cNvPr id="3" name="Inhaltsplatzhalter 2">
            <a:extLst>
              <a:ext uri="{FF2B5EF4-FFF2-40B4-BE49-F238E27FC236}">
                <a16:creationId xmlns:a16="http://schemas.microsoft.com/office/drawing/2014/main" id="{35DA94D0-2864-4321-A54A-D3B34160EA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9305998"/>
              </p:ext>
            </p:extLst>
          </p:nvPr>
        </p:nvGraphicFramePr>
        <p:xfrm>
          <a:off x="146538" y="1195160"/>
          <a:ext cx="12045462" cy="4119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78322B00-E814-4514-B9B7-645D6F25E246}"/>
              </a:ext>
            </a:extLst>
          </p:cNvPr>
          <p:cNvSpPr/>
          <p:nvPr/>
        </p:nvSpPr>
        <p:spPr>
          <a:xfrm>
            <a:off x="554665" y="4180589"/>
            <a:ext cx="2083720" cy="1644754"/>
          </a:xfrm>
          <a:prstGeom prst="rect">
            <a:avLst/>
          </a:prstGeom>
          <a:solidFill>
            <a:srgbClr val="ECE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Auszubilden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Berufseinstei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Mitarbeitende, die Bereich gewechselt ha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Keine/wenig Erfahrung mit realen Arbeitssituationen</a:t>
            </a:r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C99EAD01-C706-4EDB-8285-E4051B0C60A6}"/>
              </a:ext>
            </a:extLst>
          </p:cNvPr>
          <p:cNvSpPr/>
          <p:nvPr/>
        </p:nvSpPr>
        <p:spPr>
          <a:xfrm>
            <a:off x="554665" y="5750528"/>
            <a:ext cx="2482840" cy="677008"/>
          </a:xfrm>
          <a:prstGeom prst="rightArrow">
            <a:avLst/>
          </a:prstGeom>
          <a:solidFill>
            <a:srgbClr val="ECEBF3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lare Regeln &amp; Vorgab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7587868-E2E3-4128-9CA0-7FED41CD69B6}"/>
              </a:ext>
            </a:extLst>
          </p:cNvPr>
          <p:cNvSpPr/>
          <p:nvPr/>
        </p:nvSpPr>
        <p:spPr>
          <a:xfrm>
            <a:off x="2844579" y="3736572"/>
            <a:ext cx="2083720" cy="1768626"/>
          </a:xfrm>
          <a:prstGeom prst="rect">
            <a:avLst/>
          </a:prstGeom>
          <a:solidFill>
            <a:srgbClr val="E4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Situationsbedingte wiederkehrende Muster werden erkan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Arbeitsleistung entspricht Mindestanforder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Situationen können noch nicht gänzlich eingeschätzt werden</a:t>
            </a:r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46E6F651-0E98-45B7-98F5-886E0F606B9B}"/>
              </a:ext>
            </a:extLst>
          </p:cNvPr>
          <p:cNvSpPr/>
          <p:nvPr/>
        </p:nvSpPr>
        <p:spPr>
          <a:xfrm>
            <a:off x="2853371" y="5314785"/>
            <a:ext cx="2482840" cy="1066965"/>
          </a:xfrm>
          <a:prstGeom prst="rightArrow">
            <a:avLst>
              <a:gd name="adj1" fmla="val 50000"/>
              <a:gd name="adj2" fmla="val 32692"/>
            </a:avLst>
          </a:prstGeom>
          <a:solidFill>
            <a:srgbClr val="E4EDE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200" kern="1000" dirty="0">
                <a:solidFill>
                  <a:schemeClr val="tx1"/>
                </a:solidFill>
              </a:rPr>
              <a:t>Unterstützung durch klare Regeln, um Prioritäten zu setz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590F1E8-03DF-4265-8BF0-2F9F31C95421}"/>
              </a:ext>
            </a:extLst>
          </p:cNvPr>
          <p:cNvSpPr/>
          <p:nvPr/>
        </p:nvSpPr>
        <p:spPr>
          <a:xfrm>
            <a:off x="5134493" y="3228980"/>
            <a:ext cx="2083720" cy="1905728"/>
          </a:xfrm>
          <a:prstGeom prst="rect">
            <a:avLst/>
          </a:prstGeom>
          <a:solidFill>
            <a:srgbClr val="DEE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Nach 2-3 Jahren im gleichen Tätigkeitsf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Mittel bis gute Arbeitsleis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Gefühl den Heraus-forderungen gewachsen zu se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Handlungen auf langfristige Ziele &amp; Pläne ausrichten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94431E62-4919-42D0-A548-5D93BE154EE4}"/>
              </a:ext>
            </a:extLst>
          </p:cNvPr>
          <p:cNvSpPr/>
          <p:nvPr/>
        </p:nvSpPr>
        <p:spPr>
          <a:xfrm>
            <a:off x="5134493" y="4824257"/>
            <a:ext cx="2482840" cy="1517119"/>
          </a:xfrm>
          <a:prstGeom prst="rightArrow">
            <a:avLst>
              <a:gd name="adj1" fmla="val 50000"/>
              <a:gd name="adj2" fmla="val 24050"/>
            </a:avLst>
          </a:prstGeom>
          <a:solidFill>
            <a:srgbClr val="DEEAE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Aufgabenübertragung zur weiteren Handlungssicherheit</a:t>
            </a:r>
          </a:p>
          <a:p>
            <a:pPr algn="ctr"/>
            <a:r>
              <a:rPr lang="de-DE" sz="1200" dirty="0">
                <a:solidFill>
                  <a:schemeClr val="tx1"/>
                </a:solidFill>
              </a:rPr>
              <a:t>Förderung von Flexibilität &amp; Arbeitsschnelligkei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8DE2087-17D0-4F59-9D67-CF87F38324C3}"/>
              </a:ext>
            </a:extLst>
          </p:cNvPr>
          <p:cNvSpPr/>
          <p:nvPr/>
        </p:nvSpPr>
        <p:spPr>
          <a:xfrm>
            <a:off x="7424407" y="2645379"/>
            <a:ext cx="2083720" cy="1905728"/>
          </a:xfrm>
          <a:prstGeom prst="rect">
            <a:avLst/>
          </a:prstGeom>
          <a:solidFill>
            <a:srgbClr val="E3E6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Nach 3-5 Jahren im gleichen Tätigkeitsf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Erkennen von Abweichungen &amp; Reak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Erkennen von Pflegesituation als Gesamtproz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Gutes – sehr gutes Leistungsniveau</a:t>
            </a: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F579F6B8-7C14-4B0B-A9A9-194AE10AA738}"/>
              </a:ext>
            </a:extLst>
          </p:cNvPr>
          <p:cNvSpPr/>
          <p:nvPr/>
        </p:nvSpPr>
        <p:spPr>
          <a:xfrm>
            <a:off x="7424407" y="4346963"/>
            <a:ext cx="2482840" cy="1223469"/>
          </a:xfrm>
          <a:prstGeom prst="rightArrow">
            <a:avLst>
              <a:gd name="adj1" fmla="val 50000"/>
              <a:gd name="adj2" fmla="val 24050"/>
            </a:avLst>
          </a:prstGeom>
          <a:solidFill>
            <a:srgbClr val="E3E6D7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Kompetenzerweiterung durch Fallbeispiele und interprofessionellen Austausch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F6F7B8-0F6A-4AC2-B4DD-EF2DAEE35B96}"/>
              </a:ext>
            </a:extLst>
          </p:cNvPr>
          <p:cNvSpPr/>
          <p:nvPr/>
        </p:nvSpPr>
        <p:spPr>
          <a:xfrm>
            <a:off x="9714321" y="1893019"/>
            <a:ext cx="2083720" cy="1429049"/>
          </a:xfrm>
          <a:prstGeom prst="rect">
            <a:avLst/>
          </a:prstGeom>
          <a:solidFill>
            <a:srgbClr val="E1D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Intuitives Erfassen von Situatio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Schnelles Erkennen von Proble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Nach 8-10 Jahren im gleichen Tätigkeitsfeld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DF968E69-488F-4A7C-A2E4-48ADC8135AE3}"/>
              </a:ext>
            </a:extLst>
          </p:cNvPr>
          <p:cNvSpPr/>
          <p:nvPr/>
        </p:nvSpPr>
        <p:spPr>
          <a:xfrm>
            <a:off x="9712637" y="2827934"/>
            <a:ext cx="2479363" cy="2240664"/>
          </a:xfrm>
          <a:prstGeom prst="rightArrow">
            <a:avLst>
              <a:gd name="adj1" fmla="val 50000"/>
              <a:gd name="adj2" fmla="val 14323"/>
            </a:avLst>
          </a:prstGeom>
          <a:solidFill>
            <a:srgbClr val="E1D5D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Übernahme von beratenden Tätigkeiten für andere Mitarbeitende in anderen Kompetenzstufen</a:t>
            </a:r>
          </a:p>
          <a:p>
            <a:pPr algn="ctr"/>
            <a:r>
              <a:rPr lang="de-DE" sz="1200" dirty="0">
                <a:solidFill>
                  <a:schemeClr val="tx1"/>
                </a:solidFill>
              </a:rPr>
              <a:t>Weiterentwicklung von Qualität</a:t>
            </a:r>
          </a:p>
        </p:txBody>
      </p:sp>
    </p:spTree>
    <p:extLst>
      <p:ext uri="{BB962C8B-B14F-4D97-AF65-F5344CB8AC3E}">
        <p14:creationId xmlns:p14="http://schemas.microsoft.com/office/powerpoint/2010/main" val="924171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etenzstuf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2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Freund, J./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Overlander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G. (Hrsg.) (2020), S. 313</a:t>
            </a:r>
          </a:p>
        </p:txBody>
      </p:sp>
      <p:graphicFrame>
        <p:nvGraphicFramePr>
          <p:cNvPr id="3" name="Inhaltsplatzhalter 2">
            <a:extLst>
              <a:ext uri="{FF2B5EF4-FFF2-40B4-BE49-F238E27FC236}">
                <a16:creationId xmlns:a16="http://schemas.microsoft.com/office/drawing/2014/main" id="{35DA94D0-2864-4321-A54A-D3B34160EA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69873810"/>
              </p:ext>
            </p:extLst>
          </p:nvPr>
        </p:nvGraphicFramePr>
        <p:xfrm>
          <a:off x="146538" y="1195160"/>
          <a:ext cx="12045462" cy="4119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78322B00-E814-4514-B9B7-645D6F25E246}"/>
              </a:ext>
            </a:extLst>
          </p:cNvPr>
          <p:cNvSpPr/>
          <p:nvPr/>
        </p:nvSpPr>
        <p:spPr>
          <a:xfrm>
            <a:off x="554665" y="4180589"/>
            <a:ext cx="2083720" cy="1644754"/>
          </a:xfrm>
          <a:prstGeom prst="rect">
            <a:avLst/>
          </a:prstGeom>
          <a:solidFill>
            <a:srgbClr val="ECE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Auszubilden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Berufseinstei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Mitarbeitende, die Bereich gewechselt ha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Keine/wenig Erfahrung mit realen Arbeitssituationen</a:t>
            </a:r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C99EAD01-C706-4EDB-8285-E4051B0C60A6}"/>
              </a:ext>
            </a:extLst>
          </p:cNvPr>
          <p:cNvSpPr/>
          <p:nvPr/>
        </p:nvSpPr>
        <p:spPr>
          <a:xfrm>
            <a:off x="554665" y="5750528"/>
            <a:ext cx="2482840" cy="677008"/>
          </a:xfrm>
          <a:prstGeom prst="rightArrow">
            <a:avLst/>
          </a:prstGeom>
          <a:solidFill>
            <a:srgbClr val="ECEBF3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400" dirty="0">
                <a:solidFill>
                  <a:schemeClr val="bg2"/>
                </a:solidFill>
              </a:rPr>
              <a:t>Klare Regeln &amp; Vorgab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7587868-E2E3-4128-9CA0-7FED41CD69B6}"/>
              </a:ext>
            </a:extLst>
          </p:cNvPr>
          <p:cNvSpPr/>
          <p:nvPr/>
        </p:nvSpPr>
        <p:spPr>
          <a:xfrm>
            <a:off x="2844579" y="3736572"/>
            <a:ext cx="2083720" cy="1768626"/>
          </a:xfrm>
          <a:prstGeom prst="rect">
            <a:avLst/>
          </a:prstGeom>
          <a:solidFill>
            <a:srgbClr val="E4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Situationsbedingte wiederkehrende Muster werden erkan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Arbeitsleistung entspricht Mindestanforder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Situationen können noch nicht gänzlich eingeschätzt werden</a:t>
            </a:r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46E6F651-0E98-45B7-98F5-886E0F606B9B}"/>
              </a:ext>
            </a:extLst>
          </p:cNvPr>
          <p:cNvSpPr/>
          <p:nvPr/>
        </p:nvSpPr>
        <p:spPr>
          <a:xfrm>
            <a:off x="2853371" y="5314785"/>
            <a:ext cx="2482840" cy="1066965"/>
          </a:xfrm>
          <a:prstGeom prst="rightArrow">
            <a:avLst>
              <a:gd name="adj1" fmla="val 50000"/>
              <a:gd name="adj2" fmla="val 32692"/>
            </a:avLst>
          </a:prstGeom>
          <a:solidFill>
            <a:srgbClr val="E4EDEF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200" kern="1000" dirty="0">
                <a:solidFill>
                  <a:schemeClr val="bg2"/>
                </a:solidFill>
              </a:rPr>
              <a:t>Unterstützung durch klare Regeln, um Prioritäten zu setz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590F1E8-03DF-4265-8BF0-2F9F31C95421}"/>
              </a:ext>
            </a:extLst>
          </p:cNvPr>
          <p:cNvSpPr/>
          <p:nvPr/>
        </p:nvSpPr>
        <p:spPr>
          <a:xfrm>
            <a:off x="5134493" y="3228980"/>
            <a:ext cx="2083720" cy="1905728"/>
          </a:xfrm>
          <a:prstGeom prst="rect">
            <a:avLst/>
          </a:prstGeom>
          <a:solidFill>
            <a:srgbClr val="DEE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Nach 2-3 Jahren im gleichen Tätigkeitsf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Mittel bis gute Arbeitsleis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Gefühl den Heraus-forderungen gewachsen zu se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Handlungen auf langfristige Ziele &amp; Pläne ausrichten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94431E62-4919-42D0-A548-5D93BE154EE4}"/>
              </a:ext>
            </a:extLst>
          </p:cNvPr>
          <p:cNvSpPr/>
          <p:nvPr/>
        </p:nvSpPr>
        <p:spPr>
          <a:xfrm>
            <a:off x="5134493" y="4824257"/>
            <a:ext cx="2482840" cy="1517119"/>
          </a:xfrm>
          <a:prstGeom prst="rightArrow">
            <a:avLst>
              <a:gd name="adj1" fmla="val 50000"/>
              <a:gd name="adj2" fmla="val 24050"/>
            </a:avLst>
          </a:prstGeom>
          <a:solidFill>
            <a:srgbClr val="DEEAE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200" dirty="0">
                <a:solidFill>
                  <a:schemeClr val="bg2"/>
                </a:solidFill>
              </a:rPr>
              <a:t>Aufgabenübertragung zur weiteren Handlungssicherheit</a:t>
            </a:r>
          </a:p>
          <a:p>
            <a:pPr algn="ctr"/>
            <a:r>
              <a:rPr lang="de-DE" sz="1200" dirty="0">
                <a:solidFill>
                  <a:schemeClr val="bg2"/>
                </a:solidFill>
              </a:rPr>
              <a:t>Förderung von Flexibilität &amp; Arbeitsschnelligkei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8DE2087-17D0-4F59-9D67-CF87F38324C3}"/>
              </a:ext>
            </a:extLst>
          </p:cNvPr>
          <p:cNvSpPr/>
          <p:nvPr/>
        </p:nvSpPr>
        <p:spPr>
          <a:xfrm>
            <a:off x="7424407" y="2645379"/>
            <a:ext cx="2083720" cy="1905728"/>
          </a:xfrm>
          <a:prstGeom prst="rect">
            <a:avLst/>
          </a:prstGeom>
          <a:solidFill>
            <a:srgbClr val="E3E6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Nach 3-5 Jahren im gleichen Tätigkeitsf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Erkennen von Abweichungen &amp; Reak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Erkennen von Pflegesituation als Gesamtproz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Gutes – sehr gutes Leistungsniveau</a:t>
            </a: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F579F6B8-7C14-4B0B-A9A9-194AE10AA738}"/>
              </a:ext>
            </a:extLst>
          </p:cNvPr>
          <p:cNvSpPr/>
          <p:nvPr/>
        </p:nvSpPr>
        <p:spPr>
          <a:xfrm>
            <a:off x="7424407" y="4346963"/>
            <a:ext cx="2482840" cy="1223469"/>
          </a:xfrm>
          <a:prstGeom prst="rightArrow">
            <a:avLst>
              <a:gd name="adj1" fmla="val 50000"/>
              <a:gd name="adj2" fmla="val 24050"/>
            </a:avLst>
          </a:prstGeom>
          <a:solidFill>
            <a:srgbClr val="E3E6D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200" dirty="0">
                <a:solidFill>
                  <a:schemeClr val="bg2"/>
                </a:solidFill>
              </a:rPr>
              <a:t>Kompetenzerweiterung durch Fallbeispiele und interprofessionellen Austausch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F6F7B8-0F6A-4AC2-B4DD-EF2DAEE35B96}"/>
              </a:ext>
            </a:extLst>
          </p:cNvPr>
          <p:cNvSpPr/>
          <p:nvPr/>
        </p:nvSpPr>
        <p:spPr>
          <a:xfrm>
            <a:off x="9714321" y="1893019"/>
            <a:ext cx="2083720" cy="1429049"/>
          </a:xfrm>
          <a:prstGeom prst="rect">
            <a:avLst/>
          </a:prstGeom>
          <a:solidFill>
            <a:srgbClr val="E1D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Intuitives Erfassen von Situatio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Schnelles Erkennen von Proble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Nach 8-10 Jahren im gleichen Tätigkeitsfeld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DF968E69-488F-4A7C-A2E4-48ADC8135AE3}"/>
              </a:ext>
            </a:extLst>
          </p:cNvPr>
          <p:cNvSpPr/>
          <p:nvPr/>
        </p:nvSpPr>
        <p:spPr>
          <a:xfrm>
            <a:off x="9712637" y="2827934"/>
            <a:ext cx="2479363" cy="2240664"/>
          </a:xfrm>
          <a:prstGeom prst="rightArrow">
            <a:avLst>
              <a:gd name="adj1" fmla="val 50000"/>
              <a:gd name="adj2" fmla="val 14323"/>
            </a:avLst>
          </a:prstGeom>
          <a:solidFill>
            <a:srgbClr val="E1D5D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200" dirty="0">
                <a:solidFill>
                  <a:schemeClr val="bg2"/>
                </a:solidFill>
              </a:rPr>
              <a:t>Übernahme von beratenden Tätigkeiten für andere Mitarbeitende in anderen Kompetenzstufen</a:t>
            </a:r>
          </a:p>
          <a:p>
            <a:pPr algn="ctr"/>
            <a:r>
              <a:rPr lang="de-DE" sz="1200" dirty="0">
                <a:solidFill>
                  <a:schemeClr val="bg2"/>
                </a:solidFill>
              </a:rPr>
              <a:t>Weiterentwicklung von Qualität</a:t>
            </a:r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3DB649BD-32D3-4AD9-B7AB-67DE154FE816}"/>
              </a:ext>
            </a:extLst>
          </p:cNvPr>
          <p:cNvSpPr/>
          <p:nvPr/>
        </p:nvSpPr>
        <p:spPr>
          <a:xfrm>
            <a:off x="417969" y="1776873"/>
            <a:ext cx="6870853" cy="690208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e-DE" b="1" dirty="0">
                <a:solidFill>
                  <a:schemeClr val="tx1"/>
                </a:solidFill>
              </a:rPr>
              <a:t>Auf welcher Kompetenzstufe befindest Du Dich und warum? </a:t>
            </a:r>
            <a:endParaRPr lang="de-DE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938187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etenzstuf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2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Freund, J./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Overlander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G. (Hrsg.) (2020), S. 313</a:t>
            </a:r>
          </a:p>
        </p:txBody>
      </p:sp>
      <p:graphicFrame>
        <p:nvGraphicFramePr>
          <p:cNvPr id="3" name="Inhaltsplatzhalter 2">
            <a:extLst>
              <a:ext uri="{FF2B5EF4-FFF2-40B4-BE49-F238E27FC236}">
                <a16:creationId xmlns:a16="http://schemas.microsoft.com/office/drawing/2014/main" id="{35DA94D0-2864-4321-A54A-D3B34160EAC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46538" y="1195160"/>
          <a:ext cx="12045462" cy="4119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78322B00-E814-4514-B9B7-645D6F25E246}"/>
              </a:ext>
            </a:extLst>
          </p:cNvPr>
          <p:cNvSpPr/>
          <p:nvPr/>
        </p:nvSpPr>
        <p:spPr>
          <a:xfrm>
            <a:off x="554665" y="4180589"/>
            <a:ext cx="2083720" cy="1644754"/>
          </a:xfrm>
          <a:prstGeom prst="rect">
            <a:avLst/>
          </a:prstGeom>
          <a:solidFill>
            <a:srgbClr val="ECE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Auszubilden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Berufseinstei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Mitarbeitende, die Bereich gewechselt ha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Keine/wenig Erfahrung mit realen Arbeitssituationen</a:t>
            </a:r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C99EAD01-C706-4EDB-8285-E4051B0C60A6}"/>
              </a:ext>
            </a:extLst>
          </p:cNvPr>
          <p:cNvSpPr/>
          <p:nvPr/>
        </p:nvSpPr>
        <p:spPr>
          <a:xfrm>
            <a:off x="554665" y="5750528"/>
            <a:ext cx="2482840" cy="677008"/>
          </a:xfrm>
          <a:prstGeom prst="rightArrow">
            <a:avLst/>
          </a:prstGeom>
          <a:solidFill>
            <a:srgbClr val="ECEBF3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400" dirty="0">
                <a:solidFill>
                  <a:schemeClr val="bg2"/>
                </a:solidFill>
              </a:rPr>
              <a:t>Klare Regeln &amp; Vorgab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7587868-E2E3-4128-9CA0-7FED41CD69B6}"/>
              </a:ext>
            </a:extLst>
          </p:cNvPr>
          <p:cNvSpPr/>
          <p:nvPr/>
        </p:nvSpPr>
        <p:spPr>
          <a:xfrm>
            <a:off x="2844579" y="3736572"/>
            <a:ext cx="2083720" cy="1768626"/>
          </a:xfrm>
          <a:prstGeom prst="rect">
            <a:avLst/>
          </a:prstGeom>
          <a:solidFill>
            <a:srgbClr val="E4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Situationsbedingte wiederkehrende Muster werden erkan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Arbeitsleistung entspricht Mindestanforder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Situationen können noch nicht gänzlich eingeschätzt werden</a:t>
            </a:r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46E6F651-0E98-45B7-98F5-886E0F606B9B}"/>
              </a:ext>
            </a:extLst>
          </p:cNvPr>
          <p:cNvSpPr/>
          <p:nvPr/>
        </p:nvSpPr>
        <p:spPr>
          <a:xfrm>
            <a:off x="2853371" y="5314785"/>
            <a:ext cx="2482840" cy="1066965"/>
          </a:xfrm>
          <a:prstGeom prst="rightArrow">
            <a:avLst>
              <a:gd name="adj1" fmla="val 50000"/>
              <a:gd name="adj2" fmla="val 32692"/>
            </a:avLst>
          </a:prstGeom>
          <a:solidFill>
            <a:srgbClr val="E4EDEF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200" kern="1000" dirty="0">
                <a:solidFill>
                  <a:schemeClr val="bg2"/>
                </a:solidFill>
              </a:rPr>
              <a:t>Unterstützung durch klare Regeln, um Prioritäten zu setz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590F1E8-03DF-4265-8BF0-2F9F31C95421}"/>
              </a:ext>
            </a:extLst>
          </p:cNvPr>
          <p:cNvSpPr/>
          <p:nvPr/>
        </p:nvSpPr>
        <p:spPr>
          <a:xfrm>
            <a:off x="5134493" y="3228980"/>
            <a:ext cx="2083720" cy="1905728"/>
          </a:xfrm>
          <a:prstGeom prst="rect">
            <a:avLst/>
          </a:prstGeom>
          <a:solidFill>
            <a:srgbClr val="DEE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Nach 2-3 Jahren im gleichen Tätigkeitsf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Mittel bis gute Arbeitsleis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Gefühl den Heraus-forderungen gewachsen zu se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Handlungen auf langfristige Ziele &amp; Pläne ausrichten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94431E62-4919-42D0-A548-5D93BE154EE4}"/>
              </a:ext>
            </a:extLst>
          </p:cNvPr>
          <p:cNvSpPr/>
          <p:nvPr/>
        </p:nvSpPr>
        <p:spPr>
          <a:xfrm>
            <a:off x="5134493" y="4824257"/>
            <a:ext cx="2482840" cy="1517119"/>
          </a:xfrm>
          <a:prstGeom prst="rightArrow">
            <a:avLst>
              <a:gd name="adj1" fmla="val 50000"/>
              <a:gd name="adj2" fmla="val 24050"/>
            </a:avLst>
          </a:prstGeom>
          <a:solidFill>
            <a:srgbClr val="DEEAE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200" dirty="0">
                <a:solidFill>
                  <a:schemeClr val="bg2"/>
                </a:solidFill>
              </a:rPr>
              <a:t>Aufgabenübertragung zur weiteren Handlungssicherheit</a:t>
            </a:r>
          </a:p>
          <a:p>
            <a:pPr algn="ctr"/>
            <a:r>
              <a:rPr lang="de-DE" sz="1200" dirty="0">
                <a:solidFill>
                  <a:schemeClr val="bg2"/>
                </a:solidFill>
              </a:rPr>
              <a:t>Förderung von Flexibilität &amp; Arbeitsschnelligkei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8DE2087-17D0-4F59-9D67-CF87F38324C3}"/>
              </a:ext>
            </a:extLst>
          </p:cNvPr>
          <p:cNvSpPr/>
          <p:nvPr/>
        </p:nvSpPr>
        <p:spPr>
          <a:xfrm>
            <a:off x="7424407" y="2645379"/>
            <a:ext cx="2083720" cy="1905728"/>
          </a:xfrm>
          <a:prstGeom prst="rect">
            <a:avLst/>
          </a:prstGeom>
          <a:solidFill>
            <a:srgbClr val="E3E6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Nach 3-5 Jahren im gleichen Tätigkeitsf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Erkennen von Abweichungen &amp; Reak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Erkennen von Pflegesituation als Gesamtproz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Gutes – sehr gutes Leistungsniveau</a:t>
            </a: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F579F6B8-7C14-4B0B-A9A9-194AE10AA738}"/>
              </a:ext>
            </a:extLst>
          </p:cNvPr>
          <p:cNvSpPr/>
          <p:nvPr/>
        </p:nvSpPr>
        <p:spPr>
          <a:xfrm>
            <a:off x="7424407" y="4346963"/>
            <a:ext cx="2482840" cy="1223469"/>
          </a:xfrm>
          <a:prstGeom prst="rightArrow">
            <a:avLst>
              <a:gd name="adj1" fmla="val 50000"/>
              <a:gd name="adj2" fmla="val 24050"/>
            </a:avLst>
          </a:prstGeom>
          <a:solidFill>
            <a:srgbClr val="E3E6D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200" dirty="0">
                <a:solidFill>
                  <a:schemeClr val="bg2"/>
                </a:solidFill>
              </a:rPr>
              <a:t>Kompetenzerweiterung durch Fallbeispiele und interprofessionellen Austausch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F6F7B8-0F6A-4AC2-B4DD-EF2DAEE35B96}"/>
              </a:ext>
            </a:extLst>
          </p:cNvPr>
          <p:cNvSpPr/>
          <p:nvPr/>
        </p:nvSpPr>
        <p:spPr>
          <a:xfrm>
            <a:off x="9714321" y="1893019"/>
            <a:ext cx="2083720" cy="1429049"/>
          </a:xfrm>
          <a:prstGeom prst="rect">
            <a:avLst/>
          </a:prstGeom>
          <a:solidFill>
            <a:srgbClr val="E1D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Intuitives Erfassen von Situatio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Schnelles Erkennen von Proble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2"/>
                </a:solidFill>
              </a:rPr>
              <a:t>Nach 8-10 Jahren im gleichen Tätigkeitsfeld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DF968E69-488F-4A7C-A2E4-48ADC8135AE3}"/>
              </a:ext>
            </a:extLst>
          </p:cNvPr>
          <p:cNvSpPr/>
          <p:nvPr/>
        </p:nvSpPr>
        <p:spPr>
          <a:xfrm>
            <a:off x="9712637" y="2827934"/>
            <a:ext cx="2479363" cy="2240664"/>
          </a:xfrm>
          <a:prstGeom prst="rightArrow">
            <a:avLst>
              <a:gd name="adj1" fmla="val 50000"/>
              <a:gd name="adj2" fmla="val 14323"/>
            </a:avLst>
          </a:prstGeom>
          <a:solidFill>
            <a:srgbClr val="E1D5D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200" dirty="0">
                <a:solidFill>
                  <a:schemeClr val="bg2"/>
                </a:solidFill>
              </a:rPr>
              <a:t>Übernahme von beratenden Tätigkeiten für andere Mitarbeitende in anderen Kompetenzstufen</a:t>
            </a:r>
          </a:p>
          <a:p>
            <a:pPr algn="ctr"/>
            <a:r>
              <a:rPr lang="de-DE" sz="1200" dirty="0">
                <a:solidFill>
                  <a:schemeClr val="bg2"/>
                </a:solidFill>
              </a:rPr>
              <a:t>Weiterentwicklung von Qualität</a:t>
            </a:r>
          </a:p>
        </p:txBody>
      </p:sp>
      <p:sp>
        <p:nvSpPr>
          <p:cNvPr id="18" name="Legende: mit Pfeil nach rechts 17">
            <a:extLst>
              <a:ext uri="{FF2B5EF4-FFF2-40B4-BE49-F238E27FC236}">
                <a16:creationId xmlns:a16="http://schemas.microsoft.com/office/drawing/2014/main" id="{3DB649BD-32D3-4AD9-B7AB-67DE154FE816}"/>
              </a:ext>
            </a:extLst>
          </p:cNvPr>
          <p:cNvSpPr/>
          <p:nvPr/>
        </p:nvSpPr>
        <p:spPr>
          <a:xfrm>
            <a:off x="567059" y="2278446"/>
            <a:ext cx="9134868" cy="2189677"/>
          </a:xfrm>
          <a:prstGeom prst="rightArrowCallout">
            <a:avLst>
              <a:gd name="adj1" fmla="val 20377"/>
              <a:gd name="adj2" fmla="val 25000"/>
              <a:gd name="adj3" fmla="val 22432"/>
              <a:gd name="adj4" fmla="val 89672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e-DE" b="1" dirty="0">
                <a:solidFill>
                  <a:schemeClr val="tx1"/>
                </a:solidFill>
              </a:rPr>
              <a:t>Leitung / Vorgesetz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nutz Kompetenzstufen zur Analyse von Mitarbeiten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legt anhand dessen Aufgaben / -Übernahme f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steigert die </a:t>
            </a:r>
            <a:r>
              <a:rPr lang="de-DE" sz="1600" dirty="0" err="1">
                <a:solidFill>
                  <a:schemeClr val="tx1"/>
                </a:solidFill>
              </a:rPr>
              <a:t>Mitarbeitendenmotivation</a:t>
            </a:r>
            <a:r>
              <a:rPr lang="de-DE" sz="1600" dirty="0">
                <a:solidFill>
                  <a:schemeClr val="tx1"/>
                </a:solidFill>
              </a:rPr>
              <a:t> durch geeignet Aufgabenauswah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Fördert Mitarbeitende durch angemessene Delegation</a:t>
            </a:r>
          </a:p>
        </p:txBody>
      </p:sp>
      <p:pic>
        <p:nvPicPr>
          <p:cNvPr id="20" name="Grafik 19" descr="Warnung">
            <a:extLst>
              <a:ext uri="{FF2B5EF4-FFF2-40B4-BE49-F238E27FC236}">
                <a16:creationId xmlns:a16="http://schemas.microsoft.com/office/drawing/2014/main" id="{2FAACA91-0A9C-4207-9C8A-0C16274F14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17333" y="261474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421580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etenzentwicklung nach C. Olbrich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27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A5D5700-4DF8-4447-9726-5FCFB0C8BC97}"/>
              </a:ext>
            </a:extLst>
          </p:cNvPr>
          <p:cNvSpPr txBox="1"/>
          <p:nvPr/>
        </p:nvSpPr>
        <p:spPr>
          <a:xfrm>
            <a:off x="479972" y="4668781"/>
            <a:ext cx="2359942" cy="3472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000" dirty="0">
                <a:hlinkClick r:id="rId2"/>
              </a:rPr>
              <a:t>abb-03-07-handlungsdimensionen-nach-christa-olbrich.jpg (1000×777) (thieme.de)</a:t>
            </a:r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5D032E57-6CE4-4235-9116-127590FAC5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10944224" cy="2955478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A29ACEB-11E1-41CC-9679-097782A8E05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34" t="983" r="698" b="1496"/>
          <a:stretch/>
        </p:blipFill>
        <p:spPr>
          <a:xfrm>
            <a:off x="2839914" y="1274296"/>
            <a:ext cx="6840417" cy="5292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301794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44037E5-19A7-48E9-BB98-599DDD31EC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4200" dirty="0"/>
              <a:t>Berufsspezifische Kompetenzen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DE6AB3B1-9D9A-4BAD-96F0-A0B58D02526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F1889E6F-A18C-4A1F-891B-72C91FD0BA8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16" b="11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31898101"/>
      </p:ext>
    </p:extLst>
  </p:cSld>
  <p:clrMapOvr>
    <a:masterClrMapping/>
  </p:clrMapOvr>
  <p:transition spd="slow">
    <p:wipe/>
  </p:transition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dikatoren für die Kompetenzsteig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29</a:t>
            </a:fld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5642688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Kompetenzsteigerung in vier Stufen</a:t>
            </a:r>
          </a:p>
          <a:p>
            <a:r>
              <a:rPr lang="de-DE" sz="1600" dirty="0"/>
              <a:t>Veranschaulichung der Entwicklung von Kompetenzen</a:t>
            </a:r>
          </a:p>
          <a:p>
            <a:r>
              <a:rPr lang="de-DE" sz="1600" dirty="0"/>
              <a:t>Formulierungshilfe für Ziele in unterschiedlichen Kompetenzen</a:t>
            </a:r>
          </a:p>
          <a:p>
            <a:r>
              <a:rPr lang="de-DE" sz="1600" dirty="0"/>
              <a:t>Formulierungshilfe für Planung von Anleitung</a:t>
            </a:r>
          </a:p>
          <a:p>
            <a:r>
              <a:rPr lang="de-DE" sz="1600" dirty="0"/>
              <a:t>Formulierungshilfe für Beurteilungen</a:t>
            </a:r>
          </a:p>
          <a:p>
            <a:endParaRPr lang="de-DE" sz="16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DAA5B17-AA74-4298-BB5F-2AAA63501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8297" y="1808425"/>
            <a:ext cx="5239815" cy="404860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F436B289-E9F3-47CF-B021-D8847D6C6C91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dirty="0"/>
              <a:t>Bundesinstitut für Berufsbildung (BIBB) (Hrsg.) (o.J.) </a:t>
            </a:r>
            <a:r>
              <a:rPr lang="de-DE" sz="800" u="sng" dirty="0">
                <a:hlinkClick r:id="rId3"/>
              </a:rPr>
              <a:t>https://www.bibb.de/de/86408.php</a:t>
            </a:r>
            <a:endParaRPr lang="de-DE" sz="800" spc="-20" dirty="0">
              <a:solidFill>
                <a:srgbClr val="2D2846"/>
              </a:solidFill>
              <a:latin typeface="Hellix" pitchFamily="50" charset="0"/>
              <a:cs typeface="Hellix" pitchFamily="50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139671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D63317-8060-4E23-A7B0-D83447AB4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griffsbestimmung – Methodik vs. Didaktik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60249D8-C68A-46AE-A7FE-A6AB1EF2CC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76756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07A4B9B-3963-4A2D-AC87-204DDBDC9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5"/>
            <a:ext cx="10944224" cy="12857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4401E6-5F04-4022-B45E-A2A5D5DCA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08E30B8-9734-4767-A23F-31F6B46A3D73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Denzel, S. (2019), S. 126 f.;  Vgl. Denzel, S. (2019), S. 152 f.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57BEC85-39A7-4F56-B256-EB31066CD5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1C3D2FA8-E3A6-4416-BA20-2E597889236F}"/>
              </a:ext>
            </a:extLst>
          </p:cNvPr>
          <p:cNvSpPr/>
          <p:nvPr/>
        </p:nvSpPr>
        <p:spPr>
          <a:xfrm>
            <a:off x="7322730" y="3191609"/>
            <a:ext cx="3683976" cy="190793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tx1"/>
                </a:solidFill>
              </a:rPr>
              <a:t>Lehrform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Wie soll etwas gelernt werd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tx1"/>
                </a:solidFill>
              </a:rPr>
              <a:t>Lehrmitt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Womit soll etwas gelernt werden?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36E88B3E-D8A0-43A6-BA97-2CD4E8720588}"/>
              </a:ext>
            </a:extLst>
          </p:cNvPr>
          <p:cNvSpPr/>
          <p:nvPr/>
        </p:nvSpPr>
        <p:spPr>
          <a:xfrm>
            <a:off x="6095999" y="1893275"/>
            <a:ext cx="1800000" cy="1800000"/>
          </a:xfrm>
          <a:prstGeom prst="ellipse">
            <a:avLst/>
          </a:prstGeom>
          <a:solidFill>
            <a:srgbClr val="DDD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Methodik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600E72A2-6D40-45B5-9688-CD6F55853B2A}"/>
              </a:ext>
            </a:extLst>
          </p:cNvPr>
          <p:cNvSpPr/>
          <p:nvPr/>
        </p:nvSpPr>
        <p:spPr>
          <a:xfrm>
            <a:off x="1734809" y="3191608"/>
            <a:ext cx="3683976" cy="190792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tx1"/>
                </a:solidFill>
              </a:rPr>
              <a:t>Lernzie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Was soll erreicht werd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tx1"/>
                </a:solidFill>
              </a:rPr>
              <a:t>Lerninhal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Was soll gelernt werden?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9000865C-3985-47EE-A629-E373C2ADC442}"/>
              </a:ext>
            </a:extLst>
          </p:cNvPr>
          <p:cNvSpPr/>
          <p:nvPr/>
        </p:nvSpPr>
        <p:spPr>
          <a:xfrm>
            <a:off x="550066" y="1893275"/>
            <a:ext cx="1800000" cy="1800000"/>
          </a:xfrm>
          <a:prstGeom prst="ellipse">
            <a:avLst/>
          </a:prstGeom>
          <a:solidFill>
            <a:srgbClr val="DDD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Didaktik</a:t>
            </a:r>
          </a:p>
        </p:txBody>
      </p:sp>
      <p:sp>
        <p:nvSpPr>
          <p:cNvPr id="13" name="Legende: mit Pfeil nach oben 12">
            <a:extLst>
              <a:ext uri="{FF2B5EF4-FFF2-40B4-BE49-F238E27FC236}">
                <a16:creationId xmlns:a16="http://schemas.microsoft.com/office/drawing/2014/main" id="{1912E022-49B9-4F23-9DF7-FD3FC32EBEFC}"/>
              </a:ext>
            </a:extLst>
          </p:cNvPr>
          <p:cNvSpPr/>
          <p:nvPr/>
        </p:nvSpPr>
        <p:spPr>
          <a:xfrm>
            <a:off x="1572151" y="5099537"/>
            <a:ext cx="4009292" cy="1063871"/>
          </a:xfrm>
          <a:prstGeom prst="upArrowCallout">
            <a:avLst>
              <a:gd name="adj1" fmla="val 25000"/>
              <a:gd name="adj2" fmla="val 25000"/>
              <a:gd name="adj3" fmla="val 19215"/>
              <a:gd name="adj4" fmla="val 74894"/>
            </a:avLst>
          </a:prstGeom>
          <a:solidFill>
            <a:srgbClr val="C8E4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Inhalt, Umfang, Schwerpunkte, …</a:t>
            </a:r>
          </a:p>
        </p:txBody>
      </p:sp>
      <p:sp>
        <p:nvSpPr>
          <p:cNvPr id="14" name="Legende: mit Pfeil nach oben 13">
            <a:extLst>
              <a:ext uri="{FF2B5EF4-FFF2-40B4-BE49-F238E27FC236}">
                <a16:creationId xmlns:a16="http://schemas.microsoft.com/office/drawing/2014/main" id="{E2B99307-A74E-4710-938A-9F369C0470F5}"/>
              </a:ext>
            </a:extLst>
          </p:cNvPr>
          <p:cNvSpPr/>
          <p:nvPr/>
        </p:nvSpPr>
        <p:spPr>
          <a:xfrm>
            <a:off x="7160072" y="5095140"/>
            <a:ext cx="4009292" cy="1063871"/>
          </a:xfrm>
          <a:prstGeom prst="upArrowCallout">
            <a:avLst>
              <a:gd name="adj1" fmla="val 25000"/>
              <a:gd name="adj2" fmla="val 25000"/>
              <a:gd name="adj3" fmla="val 19215"/>
              <a:gd name="adj4" fmla="val 74894"/>
            </a:avLst>
          </a:prstGeom>
          <a:solidFill>
            <a:srgbClr val="C8E4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Hilfsmittel, Anleitungsmodell, Anleitungsform, …</a:t>
            </a:r>
          </a:p>
        </p:txBody>
      </p:sp>
    </p:spTree>
    <p:extLst>
      <p:ext uri="{BB962C8B-B14F-4D97-AF65-F5344CB8AC3E}">
        <p14:creationId xmlns:p14="http://schemas.microsoft.com/office/powerpoint/2010/main" val="4069766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1" grpId="0" animBg="1"/>
      <p:bldP spid="13" grpId="0" animBg="1"/>
      <p:bldP spid="14" grpId="0" animBg="1"/>
    </p:bld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rufsspezifische Kompetenz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30</a:t>
            </a:fld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Jeder Berufsgruppe liegen unterschiedliche rechtliche Vorgaben zugrunde.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dirty="0"/>
              <a:t>Die zu erlernenden Kompetenzen sind in den jeweiligen Prüfungsverordnungen festgehalten:</a:t>
            </a:r>
          </a:p>
          <a:p>
            <a:r>
              <a:rPr lang="de-DE" sz="1600" dirty="0"/>
              <a:t>Ausbildungs- und Prüfungsverordnung für die Berufe in der Krankenpflege (</a:t>
            </a:r>
            <a:r>
              <a:rPr lang="de-DE" sz="1600" dirty="0" err="1"/>
              <a:t>PflAPrV</a:t>
            </a:r>
            <a:r>
              <a:rPr lang="de-DE" sz="1600" dirty="0"/>
              <a:t>)</a:t>
            </a:r>
          </a:p>
          <a:p>
            <a:endParaRPr lang="de-DE" sz="1600" dirty="0"/>
          </a:p>
          <a:p>
            <a:r>
              <a:rPr lang="de-DE" sz="1600" dirty="0"/>
              <a:t>Ausbildungs- und Prüfungsverordnung für Anästhesietechnische- und Operationstechnische-Assistenten und Assistentinnen (ATA-OTA-</a:t>
            </a:r>
            <a:r>
              <a:rPr lang="de-DE" sz="1600" dirty="0" err="1"/>
              <a:t>APrV</a:t>
            </a:r>
            <a:r>
              <a:rPr lang="de-DE" sz="1600" dirty="0"/>
              <a:t>)</a:t>
            </a:r>
          </a:p>
          <a:p>
            <a:endParaRPr lang="de-DE" sz="1600" dirty="0"/>
          </a:p>
          <a:p>
            <a:r>
              <a:rPr lang="de-DE" sz="1600" dirty="0"/>
              <a:t>Studien- und Prüfungsverordnung für Hebammen (</a:t>
            </a:r>
            <a:r>
              <a:rPr lang="de-DE" sz="1600" dirty="0" err="1"/>
              <a:t>HebStPrV</a:t>
            </a:r>
            <a:r>
              <a:rPr lang="de-DE" sz="1600" dirty="0"/>
              <a:t>)</a:t>
            </a:r>
          </a:p>
          <a:p>
            <a:endParaRPr lang="de-DE" sz="1600" dirty="0"/>
          </a:p>
          <a:p>
            <a:r>
              <a:rPr lang="de-DE" sz="1600" dirty="0"/>
              <a:t>Ausbildungs- und Prüfungsverordnung für Notfallsanitäterinnen und Notfallsanitäter (</a:t>
            </a:r>
            <a:r>
              <a:rPr lang="de-DE" sz="1600" dirty="0" err="1"/>
              <a:t>NotSan-APrV</a:t>
            </a:r>
            <a:r>
              <a:rPr lang="de-DE" sz="1600" dirty="0"/>
              <a:t>)</a:t>
            </a:r>
          </a:p>
          <a:p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633316172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rufsspezifische Kompetenz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31</a:t>
            </a:fld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Ausbildungs- und Prüfungsverordnung für die Berufe in der Krankenpflege (</a:t>
            </a:r>
            <a:r>
              <a:rPr lang="de-DE" sz="1600" dirty="0" err="1">
                <a:latin typeface="+mj-lt"/>
              </a:rPr>
              <a:t>PflAPrV</a:t>
            </a:r>
            <a:r>
              <a:rPr lang="de-DE" sz="1600" dirty="0">
                <a:latin typeface="+mj-lt"/>
              </a:rPr>
              <a:t>)</a:t>
            </a:r>
          </a:p>
          <a:p>
            <a:r>
              <a:rPr lang="de-DE" sz="1600" dirty="0"/>
              <a:t>Anlage 2 – Kompetenzen für die staatliche Prüfung nach § 9 zur Pflegefachfrau oder zum Pflegefachmann </a:t>
            </a:r>
            <a:r>
              <a:rPr lang="de-DE" sz="1600" i="1" dirty="0"/>
              <a:t>(ab Seite 35)</a:t>
            </a:r>
          </a:p>
          <a:p>
            <a:r>
              <a:rPr lang="de-DE" sz="1600" dirty="0"/>
              <a:t>Anlage 3 – Kompetenzen für die staatliche Prüfung nach § 26 Gesundheits- und Kinderkrankenpflegerin oder zum Gesundheits- und Kinderkrankenpfleger </a:t>
            </a:r>
            <a:r>
              <a:rPr lang="de-DE" sz="1600" i="1" dirty="0"/>
              <a:t>(ab Seite 41)</a:t>
            </a:r>
          </a:p>
          <a:p>
            <a:r>
              <a:rPr lang="de-DE" sz="1600" dirty="0"/>
              <a:t>Anlage 4 – Kompetenzen für die staatliche Prüfung nach § 28 zur Altenpflegerin oder zum Altenpfleger </a:t>
            </a:r>
            <a:r>
              <a:rPr lang="de-DE" sz="1600" i="1" dirty="0"/>
              <a:t>(ab Seite 46)</a:t>
            </a:r>
          </a:p>
          <a:p>
            <a:r>
              <a:rPr lang="de-DE" sz="1600" dirty="0"/>
              <a:t>Anlage 5 – Kompetenzen für die Prüfung der hochschulischen Pflegeausbildung nach § 32 </a:t>
            </a:r>
            <a:r>
              <a:rPr lang="de-DE" sz="1600" i="1" dirty="0"/>
              <a:t>(ab Seite 52)</a:t>
            </a:r>
          </a:p>
          <a:p>
            <a:pPr marL="0" indent="0"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803571330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rufsspezifische Kompetenz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32</a:t>
            </a:fld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Ausbildungs- und Prüfungsverordnung für Anästhesietechnische- und Operationstechnische-Assistenten und Assistentinnen (ATA-OTA-</a:t>
            </a:r>
            <a:r>
              <a:rPr lang="de-DE" sz="1600" dirty="0" err="1">
                <a:latin typeface="+mj-lt"/>
              </a:rPr>
              <a:t>APrV</a:t>
            </a:r>
            <a:r>
              <a:rPr lang="de-DE" sz="1600" dirty="0">
                <a:latin typeface="+mj-lt"/>
              </a:rPr>
              <a:t>)</a:t>
            </a:r>
          </a:p>
          <a:p>
            <a:r>
              <a:rPr lang="de-DE" sz="1600" dirty="0"/>
              <a:t>Anlage 1 – Theoretischer und praktischer Unterricht in der Ausbildung zur Anästhesietechnischen Assistentin oder zum Anästhesietechnischen Assistenten </a:t>
            </a:r>
            <a:r>
              <a:rPr lang="de-DE" sz="1600" i="1" dirty="0"/>
              <a:t>(ab Seite 35)</a:t>
            </a:r>
          </a:p>
          <a:p>
            <a:r>
              <a:rPr lang="de-DE" sz="1600" dirty="0"/>
              <a:t>Anlage 3 – Theoretischer und praktischer Unterricht in der Ausbildung zur Operationstechnischen Assistentin oder zum Operationstechnischen Assistenten </a:t>
            </a:r>
            <a:r>
              <a:rPr lang="de-DE" sz="1600" i="1" dirty="0"/>
              <a:t>(ab Seite 40)</a:t>
            </a:r>
          </a:p>
          <a:p>
            <a:pPr marL="0" indent="0"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4265273356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rufsspezifische Kompetenz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33</a:t>
            </a:fld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Studien- und Prüfungsverordnung für Hebammen (</a:t>
            </a:r>
            <a:r>
              <a:rPr lang="de-DE" sz="1600" dirty="0" err="1">
                <a:latin typeface="+mj-lt"/>
              </a:rPr>
              <a:t>HebStPrV</a:t>
            </a:r>
            <a:r>
              <a:rPr lang="de-DE" sz="1600" dirty="0">
                <a:latin typeface="+mj-lt"/>
              </a:rPr>
              <a:t>)</a:t>
            </a:r>
          </a:p>
          <a:p>
            <a:r>
              <a:rPr lang="de-DE" sz="1600" dirty="0"/>
              <a:t>Anlage 1 – Kompetenzen für die staatliche Prüfung zur Hebamme </a:t>
            </a:r>
            <a:r>
              <a:rPr lang="de-DE" sz="1600" i="1" dirty="0"/>
              <a:t>(ab Seite 19)</a:t>
            </a:r>
          </a:p>
          <a:p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083259315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rufsspezifische Kompetenz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34</a:t>
            </a:fld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Ausbildungs- und Prüfungsverordnung für Notfallsanitäterinnen und Notfallsanitäter (</a:t>
            </a:r>
            <a:r>
              <a:rPr lang="de-DE" sz="1600" dirty="0" err="1">
                <a:latin typeface="+mj-lt"/>
              </a:rPr>
              <a:t>NotSan-APrV</a:t>
            </a:r>
            <a:r>
              <a:rPr lang="de-DE" sz="1600" dirty="0">
                <a:latin typeface="+mj-lt"/>
              </a:rPr>
              <a:t>)</a:t>
            </a:r>
          </a:p>
          <a:p>
            <a:r>
              <a:rPr lang="de-DE" sz="1600" dirty="0"/>
              <a:t>Anlage 1 – Theoretischer und praktischer Unterricht</a:t>
            </a:r>
          </a:p>
          <a:p>
            <a:r>
              <a:rPr lang="de-DE" sz="1600" dirty="0"/>
              <a:t>Anlage 2 – Praktische Ausbildung in genehmigten Lehrrettungswachsen</a:t>
            </a:r>
          </a:p>
          <a:p>
            <a:r>
              <a:rPr lang="de-DE" sz="1600" dirty="0"/>
              <a:t>Anlage 3 – Praktische Ausbildung in geeigneten Krankenhäusern</a:t>
            </a:r>
          </a:p>
          <a:p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384837598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B6420C-0ABA-4978-A2C4-0EAB56BC1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verzeichni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7EC40B-0DA0-4340-95E0-917050DBE1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usbildungs- und Prüfungsverordnung für Anästhesietechnische- und Operationstechnische-Assistenten und Assistentinnen (ATA-OTA-</a:t>
            </a:r>
            <a:r>
              <a:rPr lang="de-DE" dirty="0" err="1"/>
              <a:t>APrV</a:t>
            </a:r>
            <a:r>
              <a:rPr lang="de-DE" dirty="0"/>
              <a:t>)</a:t>
            </a:r>
          </a:p>
          <a:p>
            <a:r>
              <a:rPr lang="de-DE" dirty="0"/>
              <a:t>Ausbildungs- und Prüfungsverordnung für die Berufe in der Krankenpflege (</a:t>
            </a:r>
            <a:r>
              <a:rPr lang="de-DE" dirty="0" err="1"/>
              <a:t>PflAPrV</a:t>
            </a:r>
            <a:r>
              <a:rPr lang="de-DE" dirty="0"/>
              <a:t>)</a:t>
            </a:r>
          </a:p>
          <a:p>
            <a:r>
              <a:rPr lang="de-DE" dirty="0"/>
              <a:t>Ausbildungs- und Prüfungsverordnung für Notfallsanitäterinnen und Notfallsanitäter (</a:t>
            </a:r>
            <a:r>
              <a:rPr lang="de-DE" dirty="0" err="1"/>
              <a:t>NotSan-APrV</a:t>
            </a:r>
            <a:r>
              <a:rPr lang="de-DE" dirty="0"/>
              <a:t>)</a:t>
            </a:r>
          </a:p>
          <a:p>
            <a:r>
              <a:rPr lang="de-DE" dirty="0" err="1"/>
              <a:t>Cantiani</a:t>
            </a:r>
            <a:r>
              <a:rPr lang="de-DE" dirty="0"/>
              <a:t>, C. (2019): Motivation von Praxisanleitenden, in: Georg Thieme Verlag KG (2019): Psychiatrische Pflege Heute, Nr. 25, Stuttgart, S. 281-286</a:t>
            </a:r>
          </a:p>
          <a:p>
            <a:r>
              <a:rPr lang="de-DE" dirty="0"/>
              <a:t>Denzel, S. (2019): Praxisanleiter. Pflegen, ausbilden, begleiten, 4. Aufl., Stuttgart</a:t>
            </a:r>
          </a:p>
          <a:p>
            <a:r>
              <a:rPr lang="de-DE" dirty="0"/>
              <a:t>Klein, Z./Peters, M./Garcia González, D./Dauer, B. (2021): Empfehlungen für Praxisanleitende im Rahmen der Pflegeausbildung nach dem </a:t>
            </a:r>
            <a:r>
              <a:rPr lang="de-DE" dirty="0" err="1"/>
              <a:t>Pflegeberufegesetz</a:t>
            </a:r>
            <a:r>
              <a:rPr lang="de-DE" dirty="0"/>
              <a:t> (</a:t>
            </a:r>
            <a:r>
              <a:rPr lang="de-DE" dirty="0" err="1"/>
              <a:t>PflBG</a:t>
            </a:r>
            <a:r>
              <a:rPr lang="de-DE" dirty="0"/>
              <a:t>). Fachworkshop-Empfehlungen zur Umsetzung in der Praxis, Bonn</a:t>
            </a:r>
          </a:p>
          <a:p>
            <a:r>
              <a:rPr lang="de-DE" dirty="0" err="1"/>
              <a:t>Mamerow</a:t>
            </a:r>
            <a:r>
              <a:rPr lang="de-DE" dirty="0"/>
              <a:t>, R. (2019): Praxisanleitung in der Pflege, 7. Aufl., Berlin</a:t>
            </a:r>
          </a:p>
          <a:p>
            <a:r>
              <a:rPr lang="de-DE" dirty="0" err="1"/>
              <a:t>Schewior</a:t>
            </a:r>
            <a:r>
              <a:rPr lang="de-DE" dirty="0"/>
              <a:t>-Popp, (2014): Lernsituationen planen und gestalten. Handlungsorientierte Unterricht im Lernfeldkontext, 2. Aufl., Stuttgart</a:t>
            </a:r>
          </a:p>
          <a:p>
            <a:r>
              <a:rPr lang="de-DE" dirty="0"/>
              <a:t>Studien- und Prüfungsverordnung für Hebammen (</a:t>
            </a:r>
            <a:r>
              <a:rPr lang="de-DE" dirty="0" err="1"/>
              <a:t>HebStPrV</a:t>
            </a:r>
            <a:r>
              <a:rPr lang="de-DE" dirty="0"/>
              <a:t>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82DFCF3-5A11-4904-9C42-DC57380CAA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69007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CD1E8E7-E7F4-40B5-AF11-F7346C1888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44072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B8291D-68A2-4EB1-AAB6-1DFAC0AC8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4667709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4CDBABA-8225-44CB-866D-3AD39D9A4F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99299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E9E4B6-E2CB-496E-BEAB-F02BBE6ABF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104633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B506370-B82F-484F-9C36-07AF6699E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36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A520438-C163-454F-BB0C-DD373FA82F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9393" y="623094"/>
            <a:ext cx="5714159" cy="590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1950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4341F156-AF29-4472-93AB-B1C9516CE0D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46" r="46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70A39D96-7E9B-4307-8E98-005D7FF496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Lernorte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7C99614-150E-4BA5-A48E-F3DA322263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er theoretischen &amp; praktischen Ausbildung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61A2879-D1CF-47A2-9B03-BBB65AB1AD52}"/>
              </a:ext>
            </a:extLst>
          </p:cNvPr>
          <p:cNvSpPr txBox="1"/>
          <p:nvPr/>
        </p:nvSpPr>
        <p:spPr>
          <a:xfrm>
            <a:off x="1894501" y="6858000"/>
            <a:ext cx="102975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/>
              <a:t>"</a:t>
            </a:r>
            <a:r>
              <a:rPr lang="de-DE" sz="900">
                <a:hlinkClick r:id="rId3" tooltip="http://commons.wikimedia.org/wiki/file:nursing_simulation_lab_at_hudson_valley_community_college.jpg"/>
              </a:rPr>
              <a:t>Dieses Foto</a:t>
            </a:r>
            <a:r>
              <a:rPr lang="de-DE" sz="900"/>
              <a:t>" von Unbekannter Autor ist lizenziert gemäß </a:t>
            </a:r>
            <a:r>
              <a:rPr lang="de-DE" sz="900">
                <a:hlinkClick r:id="rId4" tooltip="https://creativecommons.org/licenses/by-sa/3.0/"/>
              </a:rPr>
              <a:t>CC BY-SA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13417651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CB0AFE-D8EB-4D51-9D24-D6CE47F64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orte der Ausbildung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C5C51BD7-B530-4AED-B3A9-95FFA9B61A8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15651106"/>
              </p:ext>
            </p:extLst>
          </p:nvPr>
        </p:nvGraphicFramePr>
        <p:xfrm>
          <a:off x="3880306" y="1888704"/>
          <a:ext cx="10944225" cy="33104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F5E7FA-FC1D-480D-BE4C-8FB13FD12B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44341A-C462-4731-A03A-B796AA903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941451-4334-41C7-82C6-0FF5F1879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8" name="Inhaltsplatzhalter 9">
            <a:extLst>
              <a:ext uri="{FF2B5EF4-FFF2-40B4-BE49-F238E27FC236}">
                <a16:creationId xmlns:a16="http://schemas.microsoft.com/office/drawing/2014/main" id="{B2A93CAD-A9FD-47B3-A472-AABA88330F4C}"/>
              </a:ext>
            </a:extLst>
          </p:cNvPr>
          <p:cNvSpPr txBox="1">
            <a:spLocks/>
          </p:cNvSpPr>
          <p:nvPr/>
        </p:nvSpPr>
        <p:spPr bwMode="gray">
          <a:xfrm>
            <a:off x="623887" y="2060575"/>
            <a:ext cx="6718541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Verzahnung der Lernorte der theoretischen &amp; praktischen Ausbildung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600" b="1" dirty="0"/>
              <a:t>Schule:</a:t>
            </a:r>
          </a:p>
          <a:p>
            <a:r>
              <a:rPr lang="de-DE" sz="1600" dirty="0"/>
              <a:t>In diesem Lernort werden theoretische (und praktische) Inhalte durch Lehrkräfte vermittelt</a:t>
            </a:r>
          </a:p>
          <a:p>
            <a:pPr marL="0" indent="0">
              <a:buNone/>
            </a:pPr>
            <a:endParaRPr lang="de-DE" sz="1600" b="1" dirty="0"/>
          </a:p>
          <a:p>
            <a:pPr marL="0" indent="0">
              <a:buNone/>
            </a:pPr>
            <a:r>
              <a:rPr lang="de-DE" sz="1600" b="1" dirty="0"/>
              <a:t>Praxis:</a:t>
            </a:r>
          </a:p>
          <a:p>
            <a:r>
              <a:rPr lang="de-DE" sz="1600" dirty="0"/>
              <a:t>Hierbei handelt es sich um die unterschiedlichen Einsätze in den praktischen Bereichen der Ausbildungsträger/Kooperationspartner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Dritter Lernort:</a:t>
            </a:r>
          </a:p>
          <a:p>
            <a:r>
              <a:rPr lang="de-DE" sz="1600" dirty="0"/>
              <a:t>Wird auch als </a:t>
            </a:r>
            <a:r>
              <a:rPr lang="de-DE" sz="1600" dirty="0" err="1"/>
              <a:t>Skill</a:t>
            </a:r>
            <a:r>
              <a:rPr lang="de-DE" sz="1600" dirty="0"/>
              <a:t>(s)-Lab bezeichnet</a:t>
            </a:r>
          </a:p>
          <a:p>
            <a:r>
              <a:rPr lang="de-DE" sz="1600" dirty="0"/>
              <a:t>Hier wird theoretisches und praktisches Wissen im geschützten Rahmen vermittelt</a:t>
            </a:r>
          </a:p>
        </p:txBody>
      </p:sp>
      <p:pic>
        <p:nvPicPr>
          <p:cNvPr id="10" name="Grafik 9" descr="Schulgebäude">
            <a:extLst>
              <a:ext uri="{FF2B5EF4-FFF2-40B4-BE49-F238E27FC236}">
                <a16:creationId xmlns:a16="http://schemas.microsoft.com/office/drawing/2014/main" id="{76D7C9C1-9A11-4540-85FD-C482722D2D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32192" y="1844146"/>
            <a:ext cx="914400" cy="914400"/>
          </a:xfrm>
          <a:prstGeom prst="rect">
            <a:avLst/>
          </a:prstGeom>
        </p:spPr>
      </p:pic>
      <p:pic>
        <p:nvPicPr>
          <p:cNvPr id="12" name="Grafik 11" descr="Hospital">
            <a:extLst>
              <a:ext uri="{FF2B5EF4-FFF2-40B4-BE49-F238E27FC236}">
                <a16:creationId xmlns:a16="http://schemas.microsoft.com/office/drawing/2014/main" id="{48C8217D-38B6-46EC-BDF8-4D0B4B2BC96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00824" y="3493262"/>
            <a:ext cx="914400" cy="914400"/>
          </a:xfrm>
          <a:prstGeom prst="rect">
            <a:avLst/>
          </a:prstGeom>
        </p:spPr>
      </p:pic>
      <p:pic>
        <p:nvPicPr>
          <p:cNvPr id="14" name="Grafik 13" descr="Standbymodus">
            <a:extLst>
              <a:ext uri="{FF2B5EF4-FFF2-40B4-BE49-F238E27FC236}">
                <a16:creationId xmlns:a16="http://schemas.microsoft.com/office/drawing/2014/main" id="{4D5C1964-77D2-495E-BEEE-8A7FB8F6E88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81144" y="3543911"/>
            <a:ext cx="914400" cy="9144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FF8DD747-7A49-4931-808D-B7DBE483478C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Denzel, S. (2019), S. 20;  Vgl. 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Schewior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-Popp, S. (2014), S. 165 f.</a:t>
            </a:r>
          </a:p>
        </p:txBody>
      </p:sp>
    </p:spTree>
    <p:extLst>
      <p:ext uri="{BB962C8B-B14F-4D97-AF65-F5344CB8AC3E}">
        <p14:creationId xmlns:p14="http://schemas.microsoft.com/office/powerpoint/2010/main" val="2871264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C7DD6E-52F7-4334-9A9B-3F350C81C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ort Schu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A2DCD76-A3E4-4598-A746-BB1E879722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31293" y="2060575"/>
            <a:ext cx="6436818" cy="3816350"/>
          </a:xfrm>
        </p:spPr>
        <p:txBody>
          <a:bodyPr/>
          <a:lstStyle/>
          <a:p>
            <a:r>
              <a:rPr lang="de-DE" sz="1600" dirty="0"/>
              <a:t>Träger der theoretischen Ausbildung</a:t>
            </a:r>
          </a:p>
          <a:p>
            <a:r>
              <a:rPr lang="de-DE" sz="1600" dirty="0"/>
              <a:t>Beteiligung an Erreichung des Ausbildungsziels</a:t>
            </a:r>
          </a:p>
          <a:p>
            <a:r>
              <a:rPr lang="de-DE" sz="1600" dirty="0"/>
              <a:t>Kooperation zwischen Lernort Schule und Lernort Praxis notwendig</a:t>
            </a:r>
          </a:p>
          <a:p>
            <a:r>
              <a:rPr lang="de-DE" sz="1600" dirty="0"/>
              <a:t>Vermittlung von theoretischen und explizitem Wissen</a:t>
            </a:r>
          </a:p>
          <a:p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Herausforderungen</a:t>
            </a:r>
          </a:p>
          <a:p>
            <a:r>
              <a:rPr lang="de-DE" sz="1600" dirty="0"/>
              <a:t>Verknüpfung von Theorie und Praxis</a:t>
            </a:r>
          </a:p>
          <a:p>
            <a:r>
              <a:rPr lang="de-DE" sz="1600" dirty="0"/>
              <a:t>Gelingender Theorie-Praxis-Transfer</a:t>
            </a:r>
          </a:p>
          <a:p>
            <a:pPr marL="180000" lvl="1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Beispiel </a:t>
            </a:r>
            <a:r>
              <a:rPr lang="de-DE" sz="1600" b="1" dirty="0" err="1"/>
              <a:t>skbs</a:t>
            </a:r>
            <a:endParaRPr lang="de-DE" sz="1600" b="1" dirty="0"/>
          </a:p>
          <a:p>
            <a:r>
              <a:rPr lang="de-DE" sz="1600" dirty="0"/>
              <a:t>Bereitstellung von Praxisanleitenden</a:t>
            </a:r>
          </a:p>
          <a:p>
            <a:r>
              <a:rPr lang="de-DE" sz="1600" dirty="0"/>
              <a:t>Bereitstellung des </a:t>
            </a:r>
            <a:r>
              <a:rPr lang="de-DE" sz="1600" dirty="0" err="1"/>
              <a:t>PflegeLabs</a:t>
            </a: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D424B64-17FE-43EB-AF45-8E27C7DB6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C1DA2E9-6CE0-4F3F-9DD0-7D030CD8E6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0DFBC8-5C96-4CC0-A7A7-7D89779776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DBA21E7-78B4-4DA5-AD5A-F974EEAEC0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77553" y="2080650"/>
            <a:ext cx="5216694" cy="3928108"/>
          </a:xfrm>
          <a:prstGeom prst="flowChartDelay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291CA44-98EC-4649-A766-2B29F01C1699}"/>
              </a:ext>
            </a:extLst>
          </p:cNvPr>
          <p:cNvSpPr txBox="1"/>
          <p:nvPr/>
        </p:nvSpPr>
        <p:spPr>
          <a:xfrm>
            <a:off x="649224" y="5990470"/>
            <a:ext cx="4059936" cy="3272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sv-SE" sz="900" dirty="0">
                <a:hlinkClick r:id="rId3"/>
              </a:rPr>
              <a:t>OTA Skillslab (klinikum-oberberg.de)https://www.klinikum-oberberg.de/wwwgbz-oberbergde/institut/news/ota-skillslab</a:t>
            </a:r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A9934A2-286D-46C0-A270-2E8E71F11BC6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Denzel, S. (2019), S. 20;  Vgl. 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Schewior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-Popp, S. (2014), S. 165 f.</a:t>
            </a:r>
          </a:p>
        </p:txBody>
      </p:sp>
    </p:spTree>
    <p:extLst>
      <p:ext uri="{BB962C8B-B14F-4D97-AF65-F5344CB8AC3E}">
        <p14:creationId xmlns:p14="http://schemas.microsoft.com/office/powerpoint/2010/main" val="1340922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894850-8595-464B-8C81-D7B540542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ort Prax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C0E8CA-90C0-4DBB-A491-B82ABE38C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B893F56-3D34-48FF-BC8C-460B5E519F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060DDE-983B-4691-82F0-33C34A90F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A113338-D4AA-4FA9-B273-30DEAFCE47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31293" y="2060575"/>
            <a:ext cx="6436818" cy="3816350"/>
          </a:xfrm>
        </p:spPr>
        <p:txBody>
          <a:bodyPr/>
          <a:lstStyle/>
          <a:p>
            <a:r>
              <a:rPr lang="de-DE" sz="1600" dirty="0"/>
              <a:t>Träger der praktischen Ausbildung</a:t>
            </a:r>
          </a:p>
          <a:p>
            <a:r>
              <a:rPr lang="de-DE" sz="1600" dirty="0"/>
              <a:t>Träger kann bei Pflegeberufen bspw. Krankenhaus oder ambulanter Pflegedienst sein</a:t>
            </a:r>
          </a:p>
          <a:p>
            <a:r>
              <a:rPr lang="de-DE" sz="1600" dirty="0"/>
              <a:t>Beteiligung an Erreichung des Ausbildungsziels</a:t>
            </a:r>
          </a:p>
          <a:p>
            <a:r>
              <a:rPr lang="de-DE" sz="1600" dirty="0"/>
              <a:t>Kooperation zwischen Lernort Schule und Lernort Praxis notwendig</a:t>
            </a:r>
          </a:p>
          <a:p>
            <a:r>
              <a:rPr lang="de-DE" sz="1600" dirty="0"/>
              <a:t>Vermittlung von praktischen und implizitem Wissen</a:t>
            </a:r>
          </a:p>
          <a:p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Herausforderungen</a:t>
            </a:r>
          </a:p>
          <a:p>
            <a:r>
              <a:rPr lang="de-DE" sz="1600" dirty="0"/>
              <a:t>Fehlende Reflexion &amp; Struktur in Bezug auf Wissensvermittlung</a:t>
            </a:r>
          </a:p>
          <a:p>
            <a:r>
              <a:rPr lang="de-DE" sz="1600" dirty="0"/>
              <a:t>Arbeitsort ist in der Reinform kein Lernort – primär Versorgung der Patient/innen und Klient/innen statt </a:t>
            </a:r>
            <a:r>
              <a:rPr lang="de-DE" sz="1600" dirty="0">
                <a:sym typeface="Wingdings" panose="05000000000000000000" pitchFamily="2" charset="2"/>
              </a:rPr>
              <a:t> Auswirkungen auf</a:t>
            </a:r>
            <a:r>
              <a:rPr lang="de-DE" sz="1600" dirty="0"/>
              <a:t> Rahmenbedingungen bzgl. des Lernens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FA15B8E-9A69-42A4-93D7-82D705783E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150" r="6439"/>
          <a:stretch/>
        </p:blipFill>
        <p:spPr>
          <a:xfrm>
            <a:off x="-903159" y="2060575"/>
            <a:ext cx="5886640" cy="3925426"/>
          </a:xfrm>
          <a:prstGeom prst="flowChartDelay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48A2E967-F9A8-4C42-9C5A-87C527100B79}"/>
              </a:ext>
            </a:extLst>
          </p:cNvPr>
          <p:cNvSpPr txBox="1"/>
          <p:nvPr/>
        </p:nvSpPr>
        <p:spPr>
          <a:xfrm>
            <a:off x="623889" y="5999116"/>
            <a:ext cx="4140136" cy="2357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>
                <a:hlinkClick r:id="rId3"/>
              </a:rPr>
              <a:t>https://www.haw-hamburg.de/detail/news/news/show/praxisanleiterinnen-fuer-die-hebammenarbeit/</a:t>
            </a:r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6DC3EE3-CBAA-4AE7-95CA-0017B66E9404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Denzel, S. (2019), S. 20;  Vgl. 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Schewior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-Popp, S. (2014), S. 165 f.</a:t>
            </a:r>
          </a:p>
        </p:txBody>
      </p:sp>
    </p:spTree>
    <p:extLst>
      <p:ext uri="{BB962C8B-B14F-4D97-AF65-F5344CB8AC3E}">
        <p14:creationId xmlns:p14="http://schemas.microsoft.com/office/powerpoint/2010/main" val="4965801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CB676E-866A-4C8E-B269-DEE99B67A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ritter Lernort – </a:t>
            </a:r>
            <a:r>
              <a:rPr lang="de-DE" dirty="0" err="1"/>
              <a:t>Skill</a:t>
            </a:r>
            <a:r>
              <a:rPr lang="de-DE" dirty="0"/>
              <a:t> Lab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1CAD82-00BD-4971-B3B1-00F53C18E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C455D42-663C-4618-936F-E21943C22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71C3C5-0A48-49B8-96AF-0D57D5196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6F48F57-061C-4BEE-AB65-524D1A36D9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31293" y="2060575"/>
            <a:ext cx="6436818" cy="3816350"/>
          </a:xfrm>
        </p:spPr>
        <p:txBody>
          <a:bodyPr/>
          <a:lstStyle/>
          <a:p>
            <a:r>
              <a:rPr lang="de-DE" sz="1600" dirty="0"/>
              <a:t>Dritter Lernort – </a:t>
            </a:r>
            <a:r>
              <a:rPr lang="de-DE" sz="1600" dirty="0" err="1"/>
              <a:t>SkillsLab</a:t>
            </a:r>
            <a:r>
              <a:rPr lang="de-DE" sz="1600" dirty="0"/>
              <a:t> oder „Skills Laboratory – dt. </a:t>
            </a:r>
            <a:r>
              <a:rPr lang="de-DE" sz="1600" dirty="0" err="1"/>
              <a:t>Fertigkeitenlabore</a:t>
            </a:r>
            <a:r>
              <a:rPr lang="de-DE" sz="1600" dirty="0"/>
              <a:t>“</a:t>
            </a:r>
          </a:p>
          <a:p>
            <a:r>
              <a:rPr lang="de-DE" sz="1600" dirty="0"/>
              <a:t>Simulation von Situationen aus der Praxis </a:t>
            </a:r>
          </a:p>
          <a:p>
            <a:r>
              <a:rPr lang="de-DE" sz="1600" dirty="0"/>
              <a:t>Sicherer Raum, zur Aneignung komplexer Handlungsabläufe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Chancen</a:t>
            </a:r>
          </a:p>
          <a:p>
            <a:r>
              <a:rPr lang="de-DE" sz="1600" dirty="0"/>
              <a:t>Ergänzung &amp; Verknüpfung der praktischen und theoretischen Ausbildung</a:t>
            </a:r>
          </a:p>
          <a:p>
            <a:r>
              <a:rPr lang="de-DE" sz="1600" dirty="0"/>
              <a:t>Zusammenführung von implizitem und explizitem Wissen</a:t>
            </a:r>
          </a:p>
          <a:p>
            <a:r>
              <a:rPr lang="de-DE" sz="1600" dirty="0"/>
              <a:t>Beitrag dazu, dass Erlerntes verknüpft werden kann</a:t>
            </a:r>
          </a:p>
          <a:p>
            <a:endParaRPr lang="de-DE" sz="16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88D3076-0ECE-4CA2-B354-7A5C912B2E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93420" y="2060574"/>
            <a:ext cx="5724527" cy="3816351"/>
          </a:xfrm>
          <a:prstGeom prst="flowChartDelay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8E93AF53-E6E4-477E-AB27-FF96A7859081}"/>
              </a:ext>
            </a:extLst>
          </p:cNvPr>
          <p:cNvSpPr txBox="1"/>
          <p:nvPr/>
        </p:nvSpPr>
        <p:spPr>
          <a:xfrm>
            <a:off x="621792" y="5876926"/>
            <a:ext cx="3813048" cy="137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>
                <a:hlinkClick r:id="rId3"/>
              </a:rPr>
              <a:t>https://www.hcm-magazin.de/skill-lab-rummelsberg-272841/</a:t>
            </a:r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FE29623-F607-41CD-9E1B-120ADD30A577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600322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Denzel, S. (2019), S. 20 f.; </a:t>
            </a:r>
            <a:r>
              <a:rPr lang="de-DE" sz="800" dirty="0"/>
              <a:t>Interprofessioneller Verband zur Integration und Förderung des Skills-Lab-Konzepts in den Gesundheitsberufen (VIFSG) e.V. (Hrsg.) (2017)</a:t>
            </a:r>
          </a:p>
        </p:txBody>
      </p:sp>
    </p:spTree>
    <p:extLst>
      <p:ext uri="{BB962C8B-B14F-4D97-AF65-F5344CB8AC3E}">
        <p14:creationId xmlns:p14="http://schemas.microsoft.com/office/powerpoint/2010/main" val="35119702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CB676E-866A-4C8E-B269-DEE99B67A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ritter Lernort – </a:t>
            </a:r>
            <a:r>
              <a:rPr lang="de-DE" dirty="0" err="1"/>
              <a:t>Skill</a:t>
            </a:r>
            <a:r>
              <a:rPr lang="de-DE" dirty="0"/>
              <a:t> Lab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1CAD82-00BD-4971-B3B1-00F53C18E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C455D42-663C-4618-936F-E21943C22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71C3C5-0A48-49B8-96AF-0D57D5196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6F48F57-061C-4BEE-AB65-524D1A36D9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31293" y="2060575"/>
            <a:ext cx="6436818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b="1" dirty="0"/>
              <a:t>Aufgaben Praxisanleitung</a:t>
            </a:r>
          </a:p>
          <a:p>
            <a:pPr marL="0" indent="0">
              <a:buNone/>
            </a:pPr>
            <a:r>
              <a:rPr lang="de-DE" sz="1600" dirty="0"/>
              <a:t>Die </a:t>
            </a:r>
            <a:r>
              <a:rPr lang="de-DE" sz="1600" dirty="0" err="1"/>
              <a:t>Praxisanleiter:innen</a:t>
            </a:r>
            <a:endParaRPr lang="de-DE" sz="1600" dirty="0"/>
          </a:p>
          <a:p>
            <a:r>
              <a:rPr lang="de-DE" sz="1600" dirty="0"/>
              <a:t>unterstützen die Vernetzung der Lernorte </a:t>
            </a:r>
          </a:p>
          <a:p>
            <a:r>
              <a:rPr lang="de-DE" sz="1600" dirty="0" err="1"/>
              <a:t>Ggben</a:t>
            </a:r>
            <a:r>
              <a:rPr lang="de-DE" sz="1600" dirty="0"/>
              <a:t> Impulse zu „problem- und handlungsorientierter Wissensvermittlung in den schulischen Bereich“</a:t>
            </a:r>
          </a:p>
          <a:p>
            <a:r>
              <a:rPr lang="de-DE" sz="1600" dirty="0"/>
              <a:t>Gehen in der Praxis auf verknüpftes Denken ein</a:t>
            </a:r>
          </a:p>
          <a:p>
            <a:r>
              <a:rPr lang="de-DE" sz="1600" dirty="0"/>
              <a:t>Fördern damit auch situationsangemessenes Handeln</a:t>
            </a:r>
          </a:p>
          <a:p>
            <a:pPr marL="0" indent="0">
              <a:buNone/>
            </a:pPr>
            <a:endParaRPr lang="de-DE" sz="1600" dirty="0"/>
          </a:p>
          <a:p>
            <a:r>
              <a:rPr lang="de-DE" sz="1600" dirty="0"/>
              <a:t>Praxisanleitende bilden die Schnittstelle zwischen den Lernenden und den unterschiedlichen Lernorten. </a:t>
            </a:r>
          </a:p>
          <a:p>
            <a:r>
              <a:rPr lang="de-DE" sz="1600" dirty="0"/>
              <a:t>Durch diese drei Lernorte ist das Aufgabenspektrum der Praxisanleitenden ausgeweitet worden und dadurch auch spannender und die didaktischen Anforderungen sind höher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88D3076-0ECE-4CA2-B354-7A5C912B2E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93420" y="2060574"/>
            <a:ext cx="5724527" cy="3816351"/>
          </a:xfrm>
          <a:prstGeom prst="flowChartDelay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8E93AF53-E6E4-477E-AB27-FF96A7859081}"/>
              </a:ext>
            </a:extLst>
          </p:cNvPr>
          <p:cNvSpPr txBox="1"/>
          <p:nvPr/>
        </p:nvSpPr>
        <p:spPr>
          <a:xfrm>
            <a:off x="621792" y="5876926"/>
            <a:ext cx="3813048" cy="137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>
                <a:hlinkClick r:id="rId3"/>
              </a:rPr>
              <a:t>https://www.hcm-magazin.de/skill-lab-rummelsberg-272841/</a:t>
            </a:r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FE29623-F607-41CD-9E1B-120ADD30A577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600322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Denzel, S. (2019), S. 20 f.; </a:t>
            </a:r>
            <a:r>
              <a:rPr lang="de-DE" sz="800" dirty="0"/>
              <a:t>Interprofessioneller Verband zur Integration und Förderung des Skills-Lab-Konzepts in den Gesundheitsberufen (VIFSG) e.V. (Hrsg.) (2017)</a:t>
            </a:r>
          </a:p>
        </p:txBody>
      </p:sp>
    </p:spTree>
    <p:extLst>
      <p:ext uri="{BB962C8B-B14F-4D97-AF65-F5344CB8AC3E}">
        <p14:creationId xmlns:p14="http://schemas.microsoft.com/office/powerpoint/2010/main" val="2176924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40A20519-99A6-4A3B-8513-50EA99C0A8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72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95F2624-2E6A-49FF-9993-8666A6633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4B9B09-DF4C-4F52-AC66-DD33898C32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7FBB489-4156-451C-A1B2-6E0F38D1F3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3245413"/>
            <a:ext cx="456058" cy="456058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BCFCCEF-43C8-4ECC-AFB2-3636C70EB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47788" y="3974503"/>
            <a:ext cx="4640262" cy="215444"/>
          </a:xfrm>
        </p:spPr>
        <p:txBody>
          <a:bodyPr/>
          <a:lstStyle/>
          <a:p>
            <a:r>
              <a:rPr lang="de-DE" dirty="0"/>
              <a:t>Kommunikatio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755A3E3-C5E7-43E2-998E-C42DC31DABE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888" y="3837832"/>
            <a:ext cx="456058" cy="456058"/>
          </a:xfrm>
        </p:spPr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B930D17-D7F5-4091-87CE-CC281E4F72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7788" y="4561830"/>
            <a:ext cx="4640262" cy="215444"/>
          </a:xfrm>
        </p:spPr>
        <p:txBody>
          <a:bodyPr/>
          <a:lstStyle/>
          <a:p>
            <a:r>
              <a:rPr lang="de-DE" dirty="0"/>
              <a:t>Handlungskompetenz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0003140-A78A-484A-8141-0790DAA0CD3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8" y="4430251"/>
            <a:ext cx="456058" cy="456058"/>
          </a:xfrm>
        </p:spPr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2DA5C71-C5C2-470E-AAF8-F8C509BA8E7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7788" y="5149157"/>
            <a:ext cx="4640262" cy="215444"/>
          </a:xfrm>
        </p:spPr>
        <p:txBody>
          <a:bodyPr/>
          <a:lstStyle/>
          <a:p>
            <a:r>
              <a:rPr lang="de-DE" dirty="0"/>
              <a:t>Kompetenzen &amp; Kompetenzentwicklu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2F51A66-4C8B-44C2-948D-FAAB722CD42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3888" y="5022670"/>
            <a:ext cx="456058" cy="456058"/>
          </a:xfrm>
        </p:spPr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8F8681-EC24-4618-8D5A-3269F8E4650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47788" y="5736485"/>
            <a:ext cx="4640262" cy="215444"/>
          </a:xfrm>
        </p:spPr>
        <p:txBody>
          <a:bodyPr/>
          <a:lstStyle/>
          <a:p>
            <a:r>
              <a:rPr lang="de-DE" dirty="0"/>
              <a:t>Berufsspezifische Kompetenzen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C2574C24-B5F9-466A-ADC6-D6F2F564C683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556478" y="6258639"/>
            <a:ext cx="1047237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113AF2C5-BE6B-4F4C-A14F-F3D60407E5C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623887" y="623094"/>
            <a:ext cx="10944223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7B2F4D40-FB0A-4306-95E6-D92481E433E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95AB26-7948-4CD3-A2B0-6D7FC2A4F2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griffsbestimmu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8BE0FA2-1431-4FDA-9400-BC5C9EF0E7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2652994"/>
            <a:ext cx="456058" cy="456058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54969FE-F33C-4244-B06D-29E3E78BCB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47788" y="3387176"/>
            <a:ext cx="4640262" cy="215444"/>
          </a:xfrm>
        </p:spPr>
        <p:txBody>
          <a:bodyPr/>
          <a:lstStyle/>
          <a:p>
            <a:r>
              <a:rPr lang="de-DE" dirty="0"/>
              <a:t>Rahmenbedingungen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99376F16-8A1D-4748-8955-EA12243967EE}"/>
              </a:ext>
            </a:extLst>
          </p:cNvPr>
          <p:cNvSpPr txBox="1">
            <a:spLocks/>
          </p:cNvSpPr>
          <p:nvPr/>
        </p:nvSpPr>
        <p:spPr bwMode="gray">
          <a:xfrm>
            <a:off x="635570" y="5615092"/>
            <a:ext cx="456058" cy="45605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6</a:t>
            </a:r>
            <a:endParaRPr lang="de-DE" dirty="0"/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1838566A-FF5C-45F3-BB41-CB90BF2E3B6D}"/>
              </a:ext>
            </a:extLst>
          </p:cNvPr>
          <p:cNvSpPr txBox="1">
            <a:spLocks/>
          </p:cNvSpPr>
          <p:nvPr/>
        </p:nvSpPr>
        <p:spPr bwMode="gray">
          <a:xfrm>
            <a:off x="1349267" y="2778756"/>
            <a:ext cx="4640262" cy="23653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Lernorte</a:t>
            </a:r>
          </a:p>
        </p:txBody>
      </p:sp>
    </p:spTree>
    <p:extLst>
      <p:ext uri="{BB962C8B-B14F-4D97-AF65-F5344CB8AC3E}">
        <p14:creationId xmlns:p14="http://schemas.microsoft.com/office/powerpoint/2010/main" val="22128447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CB0AFE-D8EB-4D51-9D24-D6CE47F64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orte der Ausbildung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C5C51BD7-B530-4AED-B3A9-95FFA9B61A8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80306" y="1888704"/>
          <a:ext cx="10944225" cy="33104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F5E7FA-FC1D-480D-BE4C-8FB13FD12B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44341A-C462-4731-A03A-B796AA903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941451-4334-41C7-82C6-0FF5F1879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8" name="Inhaltsplatzhalter 9">
            <a:extLst>
              <a:ext uri="{FF2B5EF4-FFF2-40B4-BE49-F238E27FC236}">
                <a16:creationId xmlns:a16="http://schemas.microsoft.com/office/drawing/2014/main" id="{B2A93CAD-A9FD-47B3-A472-AABA88330F4C}"/>
              </a:ext>
            </a:extLst>
          </p:cNvPr>
          <p:cNvSpPr txBox="1">
            <a:spLocks/>
          </p:cNvSpPr>
          <p:nvPr/>
        </p:nvSpPr>
        <p:spPr bwMode="gray">
          <a:xfrm>
            <a:off x="623887" y="2060575"/>
            <a:ext cx="6718541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Verzahnung der Lernorte der theoretischen &amp; praktischen Ausbildung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r>
              <a:rPr lang="de-DE" sz="1600" dirty="0"/>
              <a:t>Ausgestaltung der Lernorte unterliegt in den verschiedenen Berufsgruppen unterschiedlichen Vorgaben</a:t>
            </a:r>
          </a:p>
          <a:p>
            <a:r>
              <a:rPr lang="de-DE" sz="1600" dirty="0" err="1"/>
              <a:t>SkillsLabs</a:t>
            </a:r>
            <a:r>
              <a:rPr lang="de-DE" sz="1600" dirty="0"/>
              <a:t> haben noch nicht überall Einzug gefunden</a:t>
            </a:r>
          </a:p>
        </p:txBody>
      </p:sp>
      <p:pic>
        <p:nvPicPr>
          <p:cNvPr id="10" name="Grafik 9" descr="Schulgebäude">
            <a:extLst>
              <a:ext uri="{FF2B5EF4-FFF2-40B4-BE49-F238E27FC236}">
                <a16:creationId xmlns:a16="http://schemas.microsoft.com/office/drawing/2014/main" id="{76D7C9C1-9A11-4540-85FD-C482722D2D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32192" y="1844146"/>
            <a:ext cx="914400" cy="914400"/>
          </a:xfrm>
          <a:prstGeom prst="rect">
            <a:avLst/>
          </a:prstGeom>
        </p:spPr>
      </p:pic>
      <p:pic>
        <p:nvPicPr>
          <p:cNvPr id="12" name="Grafik 11" descr="Hospital">
            <a:extLst>
              <a:ext uri="{FF2B5EF4-FFF2-40B4-BE49-F238E27FC236}">
                <a16:creationId xmlns:a16="http://schemas.microsoft.com/office/drawing/2014/main" id="{48C8217D-38B6-46EC-BDF8-4D0B4B2BC96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00824" y="3493262"/>
            <a:ext cx="914400" cy="914400"/>
          </a:xfrm>
          <a:prstGeom prst="rect">
            <a:avLst/>
          </a:prstGeom>
        </p:spPr>
      </p:pic>
      <p:pic>
        <p:nvPicPr>
          <p:cNvPr id="14" name="Grafik 13" descr="Standbymodus">
            <a:extLst>
              <a:ext uri="{FF2B5EF4-FFF2-40B4-BE49-F238E27FC236}">
                <a16:creationId xmlns:a16="http://schemas.microsoft.com/office/drawing/2014/main" id="{4D5C1964-77D2-495E-BEEE-8A7FB8F6E88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81144" y="3543911"/>
            <a:ext cx="914400" cy="914400"/>
          </a:xfrm>
          <a:prstGeom prst="rect">
            <a:avLst/>
          </a:prstGeom>
        </p:spPr>
      </p:pic>
      <p:sp>
        <p:nvSpPr>
          <p:cNvPr id="3" name="Sprechblase: oval 2">
            <a:extLst>
              <a:ext uri="{FF2B5EF4-FFF2-40B4-BE49-F238E27FC236}">
                <a16:creationId xmlns:a16="http://schemas.microsoft.com/office/drawing/2014/main" id="{3CA6DF18-4237-4381-B7E7-BE21CBF03D38}"/>
              </a:ext>
            </a:extLst>
          </p:cNvPr>
          <p:cNvSpPr/>
          <p:nvPr/>
        </p:nvSpPr>
        <p:spPr>
          <a:xfrm>
            <a:off x="291517" y="3493262"/>
            <a:ext cx="3822192" cy="1645920"/>
          </a:xfrm>
          <a:prstGeom prst="wedgeEllipseCallout">
            <a:avLst>
              <a:gd name="adj1" fmla="val 13617"/>
              <a:gd name="adj2" fmla="val 68056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ie hast Du </a:t>
            </a:r>
            <a:r>
              <a:rPr lang="de-DE" dirty="0" err="1">
                <a:solidFill>
                  <a:schemeClr val="tx1"/>
                </a:solidFill>
              </a:rPr>
              <a:t>SkillsLabs</a:t>
            </a:r>
            <a:r>
              <a:rPr lang="de-DE" dirty="0">
                <a:solidFill>
                  <a:schemeClr val="tx1"/>
                </a:solidFill>
              </a:rPr>
              <a:t> in Deiner Ausbildung erlebt?</a:t>
            </a:r>
          </a:p>
        </p:txBody>
      </p:sp>
      <p:sp>
        <p:nvSpPr>
          <p:cNvPr id="13" name="Sprechblase: oval 12">
            <a:extLst>
              <a:ext uri="{FF2B5EF4-FFF2-40B4-BE49-F238E27FC236}">
                <a16:creationId xmlns:a16="http://schemas.microsoft.com/office/drawing/2014/main" id="{6C18AC09-45B3-4F64-8E47-8BAC19434458}"/>
              </a:ext>
            </a:extLst>
          </p:cNvPr>
          <p:cNvSpPr/>
          <p:nvPr/>
        </p:nvSpPr>
        <p:spPr>
          <a:xfrm>
            <a:off x="2988868" y="4231005"/>
            <a:ext cx="3822192" cy="1645920"/>
          </a:xfrm>
          <a:prstGeom prst="wedgeEllipseCallout">
            <a:avLst>
              <a:gd name="adj1" fmla="val -25618"/>
              <a:gd name="adj2" fmla="val 57500"/>
            </a:avLst>
          </a:prstGeom>
          <a:solidFill>
            <a:srgbClr val="B5AF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/>
              <a:t>Wie erlebst Du </a:t>
            </a:r>
            <a:r>
              <a:rPr lang="de-DE" dirty="0" err="1"/>
              <a:t>SkillsLabs</a:t>
            </a:r>
            <a:r>
              <a:rPr lang="de-DE" dirty="0"/>
              <a:t> heute?</a:t>
            </a:r>
          </a:p>
        </p:txBody>
      </p:sp>
    </p:spTree>
    <p:extLst>
      <p:ext uri="{BB962C8B-B14F-4D97-AF65-F5344CB8AC3E}">
        <p14:creationId xmlns:p14="http://schemas.microsoft.com/office/powerpoint/2010/main" val="30442156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2C5B5F-87DC-4F16-825D-4AAB57C0B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terschiedliche Berufe in </a:t>
            </a:r>
            <a:r>
              <a:rPr lang="de-DE" dirty="0" err="1"/>
              <a:t>Skill</a:t>
            </a:r>
            <a:r>
              <a:rPr lang="de-DE" dirty="0"/>
              <a:t> Lab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3D17086-A032-4B9D-B3FA-4A17F60736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96C0FF8-0539-4225-81A8-B4ADA3321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95E9BA-5A86-4B3E-AE63-2394C1FCF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3DC126AD-C048-4047-9FB4-D8B247B79E13}"/>
              </a:ext>
            </a:extLst>
          </p:cNvPr>
          <p:cNvSpPr/>
          <p:nvPr/>
        </p:nvSpPr>
        <p:spPr>
          <a:xfrm>
            <a:off x="1429305" y="2334828"/>
            <a:ext cx="2787588" cy="151741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48932-7E24-4C89-AEAA-A58493C8389B}"/>
              </a:ext>
            </a:extLst>
          </p:cNvPr>
          <p:cNvSpPr txBox="1"/>
          <p:nvPr/>
        </p:nvSpPr>
        <p:spPr>
          <a:xfrm>
            <a:off x="1790294" y="3315811"/>
            <a:ext cx="2065611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 err="1">
                <a:solidFill>
                  <a:schemeClr val="tx2"/>
                </a:solidFill>
              </a:rPr>
              <a:t>Operationstechnische:r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Assistent:in</a:t>
            </a:r>
            <a:endParaRPr lang="de-DE" sz="1400" dirty="0">
              <a:solidFill>
                <a:schemeClr val="tx2"/>
              </a:solidFill>
            </a:endParaRPr>
          </a:p>
        </p:txBody>
      </p:sp>
      <p:pic>
        <p:nvPicPr>
          <p:cNvPr id="14" name="Inhaltsplatzhalter 13" descr="Videokamera">
            <a:hlinkClick r:id="rId2"/>
            <a:extLst>
              <a:ext uri="{FF2B5EF4-FFF2-40B4-BE49-F238E27FC236}">
                <a16:creationId xmlns:a16="http://schemas.microsoft.com/office/drawing/2014/main" id="{A8B7EF24-137A-4CDC-9557-EDAA039F236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65899" y="2321511"/>
            <a:ext cx="914400" cy="914400"/>
          </a:xfrm>
        </p:spPr>
      </p:pic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B42DDF18-2852-40E9-B4D2-BA4D01724F07}"/>
              </a:ext>
            </a:extLst>
          </p:cNvPr>
          <p:cNvSpPr/>
          <p:nvPr/>
        </p:nvSpPr>
        <p:spPr>
          <a:xfrm>
            <a:off x="3588059" y="4290075"/>
            <a:ext cx="2787588" cy="1517411"/>
          </a:xfrm>
          <a:prstGeom prst="roundRect">
            <a:avLst/>
          </a:prstGeom>
          <a:solidFill>
            <a:srgbClr val="C8E4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9C96CAF-3A56-4CA0-BE13-13A75EF8CDC3}"/>
              </a:ext>
            </a:extLst>
          </p:cNvPr>
          <p:cNvSpPr txBox="1"/>
          <p:nvPr/>
        </p:nvSpPr>
        <p:spPr>
          <a:xfrm>
            <a:off x="3949048" y="5271058"/>
            <a:ext cx="2065611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</a:rPr>
              <a:t>Hebamme / Entbindungspfleger</a:t>
            </a:r>
          </a:p>
        </p:txBody>
      </p:sp>
      <p:pic>
        <p:nvPicPr>
          <p:cNvPr id="17" name="Inhaltsplatzhalter 13" descr="Videokamera">
            <a:hlinkClick r:id="rId5"/>
            <a:extLst>
              <a:ext uri="{FF2B5EF4-FFF2-40B4-BE49-F238E27FC236}">
                <a16:creationId xmlns:a16="http://schemas.microsoft.com/office/drawing/2014/main" id="{AA476456-D08C-41AE-8A24-B8E60C589B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524653" y="4276758"/>
            <a:ext cx="914400" cy="914400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EE6DDDE-0EF2-4BCF-A73D-C063C03845BA}"/>
              </a:ext>
            </a:extLst>
          </p:cNvPr>
          <p:cNvSpPr/>
          <p:nvPr/>
        </p:nvSpPr>
        <p:spPr>
          <a:xfrm>
            <a:off x="5763088" y="1860601"/>
            <a:ext cx="2787588" cy="1517411"/>
          </a:xfrm>
          <a:prstGeom prst="roundRect">
            <a:avLst/>
          </a:prstGeom>
          <a:solidFill>
            <a:srgbClr val="F6F2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8D03D2E-06E9-4091-8C1B-079A11B7049F}"/>
              </a:ext>
            </a:extLst>
          </p:cNvPr>
          <p:cNvSpPr txBox="1"/>
          <p:nvPr/>
        </p:nvSpPr>
        <p:spPr>
          <a:xfrm>
            <a:off x="6124077" y="2841584"/>
            <a:ext cx="2065611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</a:rPr>
              <a:t>Pflegefachfrau / Pflegefachmann</a:t>
            </a:r>
          </a:p>
        </p:txBody>
      </p:sp>
      <p:pic>
        <p:nvPicPr>
          <p:cNvPr id="20" name="Inhaltsplatzhalter 13" descr="Videokamera">
            <a:hlinkClick r:id="rId6"/>
            <a:extLst>
              <a:ext uri="{FF2B5EF4-FFF2-40B4-BE49-F238E27FC236}">
                <a16:creationId xmlns:a16="http://schemas.microsoft.com/office/drawing/2014/main" id="{BBB70DB1-DC07-4ACA-B673-0D868FE94C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6699682" y="1847284"/>
            <a:ext cx="914400" cy="914400"/>
          </a:xfrm>
          <a:prstGeom prst="rect">
            <a:avLst/>
          </a:prstGeom>
        </p:spPr>
      </p:pic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FECB1A5D-BE16-404F-95B0-AA93B32FAFCE}"/>
              </a:ext>
            </a:extLst>
          </p:cNvPr>
          <p:cNvSpPr/>
          <p:nvPr/>
        </p:nvSpPr>
        <p:spPr>
          <a:xfrm>
            <a:off x="7975109" y="3773011"/>
            <a:ext cx="2787588" cy="1517411"/>
          </a:xfrm>
          <a:prstGeom prst="roundRect">
            <a:avLst/>
          </a:prstGeom>
          <a:solidFill>
            <a:srgbClr val="FFF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07B7781-058F-413B-B203-252F316FD480}"/>
              </a:ext>
            </a:extLst>
          </p:cNvPr>
          <p:cNvSpPr txBox="1"/>
          <p:nvPr/>
        </p:nvSpPr>
        <p:spPr>
          <a:xfrm>
            <a:off x="8336098" y="4753994"/>
            <a:ext cx="2065611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 err="1">
                <a:solidFill>
                  <a:schemeClr val="tx2"/>
                </a:solidFill>
              </a:rPr>
              <a:t>Notfallsanitäter:in</a:t>
            </a:r>
            <a:endParaRPr lang="de-DE" sz="1400" dirty="0">
              <a:solidFill>
                <a:schemeClr val="tx2"/>
              </a:solidFill>
            </a:endParaRPr>
          </a:p>
        </p:txBody>
      </p:sp>
      <p:pic>
        <p:nvPicPr>
          <p:cNvPr id="23" name="Inhaltsplatzhalter 13" descr="Videokamera">
            <a:hlinkClick r:id="rId7"/>
            <a:extLst>
              <a:ext uri="{FF2B5EF4-FFF2-40B4-BE49-F238E27FC236}">
                <a16:creationId xmlns:a16="http://schemas.microsoft.com/office/drawing/2014/main" id="{5C484B69-D197-44CD-ABE0-D3C9A1D012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8911703" y="375969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2611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44037E5-19A7-48E9-BB98-599DDD31EC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9" y="836614"/>
            <a:ext cx="5256794" cy="1354217"/>
          </a:xfrm>
        </p:spPr>
        <p:txBody>
          <a:bodyPr/>
          <a:lstStyle/>
          <a:p>
            <a:r>
              <a:rPr lang="de-DE" sz="4200" dirty="0"/>
              <a:t>Rahmenbedingungen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A5283774-C17B-44F4-9B76-58860CBA17C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4DF5B25-B3C3-4E8B-8A75-6E3596A5DB22}"/>
              </a:ext>
            </a:extLst>
          </p:cNvPr>
          <p:cNvSpPr txBox="1"/>
          <p:nvPr/>
        </p:nvSpPr>
        <p:spPr>
          <a:xfrm>
            <a:off x="1894501" y="6858000"/>
            <a:ext cx="102975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/>
              <a:t>"</a:t>
            </a:r>
            <a:r>
              <a:rPr lang="de-DE" sz="900">
                <a:hlinkClick r:id="rId2" tooltip="https://querdenken-761.de/krise-in-der-medizinischen-versorgung-kliniken-unterbesetzt-nicht-ueberbelegt/"/>
              </a:rPr>
              <a:t>Dieses Foto</a:t>
            </a:r>
            <a:r>
              <a:rPr lang="de-DE" sz="900"/>
              <a:t>" von Unbekannter Autor ist lizenziert gemäß </a:t>
            </a:r>
            <a:r>
              <a:rPr lang="de-DE" sz="900">
                <a:hlinkClick r:id="rId3" tooltip="https://creativecommons.org/licenses/by-nc-nd/3.0/"/>
              </a:rPr>
              <a:t>CC BY-NC-ND</a:t>
            </a:r>
            <a:endParaRPr lang="de-DE" sz="900"/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1A2DAFFC-4910-45BF-B900-40A16AA1274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64" b="64"/>
          <a:stretch>
            <a:fillRect/>
          </a:stretch>
        </p:blipFill>
        <p:spPr/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342A001F-432F-498A-824E-739691C56EBF}"/>
              </a:ext>
            </a:extLst>
          </p:cNvPr>
          <p:cNvSpPr txBox="1"/>
          <p:nvPr/>
        </p:nvSpPr>
        <p:spPr>
          <a:xfrm>
            <a:off x="1894501" y="6858000"/>
            <a:ext cx="102975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/>
              <a:t>"</a:t>
            </a:r>
            <a:r>
              <a:rPr lang="de-DE" sz="900">
                <a:hlinkClick r:id="rId5" tooltip="https://idaho.pressbooks.pub/makingconflictsuckless/chapter/framing-and-reframing/"/>
              </a:rPr>
              <a:t>Dieses Foto</a:t>
            </a:r>
            <a:r>
              <a:rPr lang="de-DE" sz="900"/>
              <a:t>" von Unbekannter Autor ist lizenziert gemäß </a:t>
            </a:r>
            <a:r>
              <a:rPr lang="de-DE" sz="900">
                <a:hlinkClick r:id="rId6" tooltip="https://creativecommons.org/licenses/by-nc-sa/3.0/"/>
              </a:rPr>
              <a:t>CC BY-SA-NC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2783434488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469E3FE-98CD-4882-8108-C2231CB12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469E3FE-98CD-4882-8108-C2231CB12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C7BA182-EAB4-46B4-BD66-B4553C45C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rbeitsauftrag – Rahmenbedingun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C15A2C-AD7D-47F8-81A4-677C7B1951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  <a:sym typeface="+mn-lt"/>
              </a:rPr>
              <a:t>Bitte bearbeite Arbeitsblatt 2 „Rahmenbedingungen“.</a:t>
            </a:r>
          </a:p>
          <a:p>
            <a:r>
              <a:rPr lang="de-DE" sz="1600" dirty="0">
                <a:sym typeface="+mn-lt"/>
              </a:rPr>
              <a:t>Du hast für die Ausarbeitung 10 Minuten Zeit. </a:t>
            </a:r>
          </a:p>
          <a:p>
            <a:r>
              <a:rPr lang="de-DE" sz="1600" dirty="0">
                <a:sym typeface="+mn-lt"/>
              </a:rPr>
              <a:t>Bitte tausche Dich danach 5 Minuten mit Deinem/Deiner Sitznachbar/in aus.</a:t>
            </a:r>
          </a:p>
          <a:p>
            <a:r>
              <a:rPr lang="de-DE" sz="1600" dirty="0">
                <a:sym typeface="+mn-lt"/>
              </a:rPr>
              <a:t>Die Besprechung der Ergebnisse erfolgt im Plenum.</a:t>
            </a:r>
          </a:p>
          <a:p>
            <a:pPr marL="0" indent="0">
              <a:buNone/>
            </a:pPr>
            <a:endParaRPr lang="de-DE" sz="1600" dirty="0">
              <a:sym typeface="+mn-lt"/>
            </a:endParaRP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6F8098-73F7-4DF5-98D5-05126E37FE3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838039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B69332F-3E3A-447E-B968-6EFD28068C8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AD1728A-0DD4-4D1D-A6F7-D52F2F1BB60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23</a:t>
            </a:fld>
            <a:endParaRPr lang="de-DE" dirty="0"/>
          </a:p>
        </p:txBody>
      </p:sp>
      <p:pic>
        <p:nvPicPr>
          <p:cNvPr id="13" name="Grafik 12" descr="Gruppenbrainstorming">
            <a:extLst>
              <a:ext uri="{FF2B5EF4-FFF2-40B4-BE49-F238E27FC236}">
                <a16:creationId xmlns:a16="http://schemas.microsoft.com/office/drawing/2014/main" id="{62C504BB-4252-42A5-A7FE-C95D06376B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28625" y="2123268"/>
            <a:ext cx="2390183" cy="2390183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5B801A90-8941-49D7-BE13-903D25496B09}"/>
              </a:ext>
            </a:extLst>
          </p:cNvPr>
          <p:cNvGrpSpPr/>
          <p:nvPr/>
        </p:nvGrpSpPr>
        <p:grpSpPr>
          <a:xfrm>
            <a:off x="4742177" y="3914453"/>
            <a:ext cx="2707646" cy="2091749"/>
            <a:chOff x="0" y="0"/>
            <a:chExt cx="5939790" cy="4214495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DBB0188-0F8D-469F-8C0C-EE0B47AD8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9"/>
                </a:ext>
              </a:extLst>
            </a:blip>
            <a:stretch>
              <a:fillRect/>
            </a:stretch>
          </p:blipFill>
          <p:spPr>
            <a:xfrm>
              <a:off x="0" y="0"/>
              <a:ext cx="5939790" cy="3960495"/>
            </a:xfrm>
            <a:prstGeom prst="rect">
              <a:avLst/>
            </a:prstGeom>
          </p:spPr>
        </p:pic>
        <p:sp>
          <p:nvSpPr>
            <p:cNvPr id="16" name="Textfeld 5">
              <a:extLst>
                <a:ext uri="{FF2B5EF4-FFF2-40B4-BE49-F238E27FC236}">
                  <a16:creationId xmlns:a16="http://schemas.microsoft.com/office/drawing/2014/main" id="{F8189F24-CDEC-4DA1-8D1E-4404C44FE6D7}"/>
                </a:ext>
              </a:extLst>
            </p:cNvPr>
            <p:cNvSpPr txBox="1"/>
            <p:nvPr/>
          </p:nvSpPr>
          <p:spPr>
            <a:xfrm>
              <a:off x="0" y="3960495"/>
              <a:ext cx="5939790" cy="254000"/>
            </a:xfrm>
            <a:prstGeom prst="rect">
              <a:avLst/>
            </a:prstGeom>
            <a:solidFill>
              <a:prstClr val="white"/>
            </a:solidFill>
            <a:ln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de-DE" sz="900">
                  <a:effectLst/>
                  <a:latin typeface="Hellix" pitchFamily="50" charset="0"/>
                  <a:ea typeface="Hellix" pitchFamily="50" charset="0"/>
                  <a:cs typeface="Times New Roman" panose="02020603050405020304" pitchFamily="18" charset="0"/>
                </a:rPr>
                <a:t>"</a:t>
              </a:r>
              <a:r>
                <a:rPr lang="de-DE" sz="900" u="sng">
                  <a:solidFill>
                    <a:srgbClr val="000000"/>
                  </a:solidFill>
                  <a:effectLst/>
                  <a:latin typeface="Hellix" pitchFamily="50" charset="0"/>
                  <a:ea typeface="Hellix" pitchFamily="50" charset="0"/>
                  <a:cs typeface="Times New Roman" panose="02020603050405020304" pitchFamily="18" charset="0"/>
                  <a:hlinkClick r:id="rId9"/>
                </a:rPr>
                <a:t>Dieses Foto</a:t>
              </a:r>
              <a:r>
                <a:rPr lang="de-DE" sz="900">
                  <a:effectLst/>
                  <a:latin typeface="Hellix" pitchFamily="50" charset="0"/>
                  <a:ea typeface="Hellix" pitchFamily="50" charset="0"/>
                  <a:cs typeface="Times New Roman" panose="02020603050405020304" pitchFamily="18" charset="0"/>
                </a:rPr>
                <a:t>" von Unbekannter Autor ist lizenziert gemäß </a:t>
              </a:r>
              <a:r>
                <a:rPr lang="de-DE" sz="900" u="sng">
                  <a:solidFill>
                    <a:srgbClr val="000000"/>
                  </a:solidFill>
                  <a:effectLst/>
                  <a:latin typeface="Hellix" pitchFamily="50" charset="0"/>
                  <a:ea typeface="Hellix" pitchFamily="50" charset="0"/>
                  <a:cs typeface="Times New Roman" panose="02020603050405020304" pitchFamily="18" charset="0"/>
                  <a:hlinkClick r:id="rId10"/>
                </a:rPr>
                <a:t>CC BY-SA-NC</a:t>
              </a:r>
              <a:endParaRPr lang="de-DE" sz="1000">
                <a:effectLst/>
                <a:latin typeface="Hellix" pitchFamily="50" charset="0"/>
                <a:ea typeface="Hellix" pitchFamily="50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9442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</a:t>
            </a:r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DA04A7E0-785D-45DB-8EF8-192EBD01E5E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2933866"/>
              </p:ext>
            </p:extLst>
          </p:nvPr>
        </p:nvGraphicFramePr>
        <p:xfrm>
          <a:off x="623888" y="2060575"/>
          <a:ext cx="10944225" cy="38163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91 ff.</a:t>
            </a:r>
          </a:p>
        </p:txBody>
      </p:sp>
    </p:spTree>
    <p:extLst>
      <p:ext uri="{BB962C8B-B14F-4D97-AF65-F5344CB8AC3E}">
        <p14:creationId xmlns:p14="http://schemas.microsoft.com/office/powerpoint/2010/main" val="1258378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88E04149-2F1D-4B52-B422-71A1C8D1048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>
                                            <p:graphicEl>
                                              <a:dgm id="{88E04149-2F1D-4B52-B422-71A1C8D1048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>
                                            <p:graphicEl>
                                              <a:dgm id="{88E04149-2F1D-4B52-B422-71A1C8D1048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>
                                            <p:graphicEl>
                                              <a:dgm id="{88E04149-2F1D-4B52-B422-71A1C8D1048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2DE5C30F-AB88-4327-93ED-98BD5A2D86E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>
                                            <p:graphicEl>
                                              <a:dgm id="{2DE5C30F-AB88-4327-93ED-98BD5A2D86E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>
                                            <p:graphicEl>
                                              <a:dgm id="{2DE5C30F-AB88-4327-93ED-98BD5A2D86E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>
                                            <p:graphicEl>
                                              <a:dgm id="{2DE5C30F-AB88-4327-93ED-98BD5A2D86E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41870E1C-37D2-4D8B-9837-A3E8CC58F4B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8">
                                            <p:graphicEl>
                                              <a:dgm id="{41870E1C-37D2-4D8B-9837-A3E8CC58F4B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>
                                            <p:graphicEl>
                                              <a:dgm id="{41870E1C-37D2-4D8B-9837-A3E8CC58F4B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graphicEl>
                                              <a:dgm id="{41870E1C-37D2-4D8B-9837-A3E8CC58F4B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315F7C17-0D56-4AD2-81CD-280A0F9B68E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8">
                                            <p:graphicEl>
                                              <a:dgm id="{315F7C17-0D56-4AD2-81CD-280A0F9B68E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graphicEl>
                                              <a:dgm id="{315F7C17-0D56-4AD2-81CD-280A0F9B68E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">
                                            <p:graphicEl>
                                              <a:dgm id="{315F7C17-0D56-4AD2-81CD-280A0F9B68E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FFBF29FC-7603-4423-85A8-AC29C3B5BF9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8">
                                            <p:graphicEl>
                                              <a:dgm id="{FFBF29FC-7603-4423-85A8-AC29C3B5BF9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>
                                            <p:graphicEl>
                                              <a:dgm id="{FFBF29FC-7603-4423-85A8-AC29C3B5BF9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8">
                                            <p:graphicEl>
                                              <a:dgm id="{FFBF29FC-7603-4423-85A8-AC29C3B5BF9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61AAB6AD-567D-4476-B88E-7E269168C08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8">
                                            <p:graphicEl>
                                              <a:dgm id="{61AAB6AD-567D-4476-B88E-7E269168C08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graphicEl>
                                              <a:dgm id="{61AAB6AD-567D-4476-B88E-7E269168C08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8">
                                            <p:graphicEl>
                                              <a:dgm id="{61AAB6AD-567D-4476-B88E-7E269168C08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00"/>
                            </p:stCondLst>
                            <p:childTnLst>
                              <p:par>
                                <p:cTn id="44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8D1636D6-344D-4245-9AA4-305533F31BB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8">
                                            <p:graphicEl>
                                              <a:dgm id="{8D1636D6-344D-4245-9AA4-305533F31BB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8">
                                            <p:graphicEl>
                                              <a:dgm id="{8D1636D6-344D-4245-9AA4-305533F31BB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8">
                                            <p:graphicEl>
                                              <a:dgm id="{8D1636D6-344D-4245-9AA4-305533F31BB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64E22571-E845-4578-8462-BDCBF67046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8">
                                            <p:graphicEl>
                                              <a:dgm id="{64E22571-E845-4578-8462-BDCBF67046D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8">
                                            <p:graphicEl>
                                              <a:dgm id="{64E22571-E845-4578-8462-BDCBF67046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8">
                                            <p:graphicEl>
                                              <a:dgm id="{64E22571-E845-4578-8462-BDCBF67046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 uiExpand="1">
        <p:bldSub>
          <a:bldDgm bld="lvlOne"/>
        </p:bldSub>
      </p:bldGraphic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 – Organis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91 ff.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9065645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elche organisatorischen Strukturen müssen geschaffen werden?</a:t>
            </a:r>
          </a:p>
          <a:p>
            <a:r>
              <a:rPr lang="de-DE" sz="1600" dirty="0"/>
              <a:t>Räumliche Bedingungen, z.B. Arbeitsplatz der </a:t>
            </a:r>
            <a:r>
              <a:rPr lang="de-DE" sz="1600" dirty="0" err="1"/>
              <a:t>Praxisanleiter:in</a:t>
            </a:r>
            <a:r>
              <a:rPr lang="de-DE" sz="1600" dirty="0"/>
              <a:t>, Raum für Gespräche mit Auszubildenden</a:t>
            </a:r>
          </a:p>
          <a:p>
            <a:r>
              <a:rPr lang="de-DE" sz="1600" dirty="0"/>
              <a:t>Dienstplangestaltung</a:t>
            </a:r>
          </a:p>
          <a:p>
            <a:r>
              <a:rPr lang="de-DE" sz="1600" dirty="0"/>
              <a:t>Wie viele Auszubildende können im Bereich eingesetzt und betreut werden?</a:t>
            </a:r>
          </a:p>
          <a:p>
            <a:r>
              <a:rPr lang="de-DE" sz="1600" dirty="0"/>
              <a:t>Einarbeitungskonzept für jeweiligen Bereich</a:t>
            </a:r>
          </a:p>
          <a:p>
            <a:r>
              <a:rPr lang="de-DE" sz="1600" dirty="0"/>
              <a:t>Zeit für Vorgespräch für gesamten Einsatz</a:t>
            </a:r>
          </a:p>
          <a:p>
            <a:r>
              <a:rPr lang="de-DE" sz="1600" dirty="0"/>
              <a:t>Zeit für Vorgespräch, Durchführung und Nachbereitung / Evaluation der Anleitung</a:t>
            </a:r>
          </a:p>
          <a:p>
            <a:r>
              <a:rPr lang="de-DE" sz="1600" dirty="0"/>
              <a:t>Rechtzeitige Terminierung und Zeit / Raum für Zwischen- und Abschlussgespräch der Auszubildenden</a:t>
            </a:r>
          </a:p>
          <a:p>
            <a:pPr marL="0" indent="0">
              <a:buNone/>
            </a:pPr>
            <a:endParaRPr lang="de-DE" sz="1600" dirty="0"/>
          </a:p>
          <a:p>
            <a:endParaRPr lang="de-DE" sz="1600" dirty="0"/>
          </a:p>
        </p:txBody>
      </p:sp>
      <p:pic>
        <p:nvPicPr>
          <p:cNvPr id="8" name="Grafik 7" descr="Hospital">
            <a:extLst>
              <a:ext uri="{FF2B5EF4-FFF2-40B4-BE49-F238E27FC236}">
                <a16:creationId xmlns:a16="http://schemas.microsoft.com/office/drawing/2014/main" id="{7CB8AB3F-01AD-4E13-8564-AB408FC8E9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46367" y="2122416"/>
            <a:ext cx="2021745" cy="202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6281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 – Organis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91 ff.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6556401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elche organisatorischen Strukturen müssen geschaffen werden?</a:t>
            </a:r>
          </a:p>
          <a:p>
            <a:r>
              <a:rPr lang="de-DE" sz="1600" dirty="0"/>
              <a:t>Räumliche Bedingungen, z.B. Arbeitsplatz der </a:t>
            </a:r>
            <a:r>
              <a:rPr lang="de-DE" sz="1600" dirty="0" err="1"/>
              <a:t>Praxisanleiter:in</a:t>
            </a:r>
            <a:r>
              <a:rPr lang="de-DE" sz="1600" dirty="0"/>
              <a:t>, Raum für Gespräche mit Auszubildenden</a:t>
            </a:r>
          </a:p>
          <a:p>
            <a:r>
              <a:rPr lang="de-DE" sz="1600" dirty="0"/>
              <a:t>Dienstplangestaltung</a:t>
            </a:r>
          </a:p>
          <a:p>
            <a:r>
              <a:rPr lang="de-DE" sz="1600" dirty="0"/>
              <a:t>Wie viele Auszubildende können im Bereich eingesetzt und betreut werden?</a:t>
            </a:r>
          </a:p>
          <a:p>
            <a:r>
              <a:rPr lang="de-DE" sz="1600" dirty="0"/>
              <a:t>Einarbeitungskonzept für jeweiligen Bereich</a:t>
            </a:r>
          </a:p>
          <a:p>
            <a:r>
              <a:rPr lang="de-DE" sz="1600" dirty="0"/>
              <a:t>Zeit für Vorgespräch für gesamten Einsatz</a:t>
            </a:r>
          </a:p>
          <a:p>
            <a:r>
              <a:rPr lang="de-DE" sz="1600" dirty="0"/>
              <a:t>Zeit für Vorgespräch, Durchführung und Nachbereitung / Evaluation der Anleitung</a:t>
            </a:r>
          </a:p>
          <a:p>
            <a:r>
              <a:rPr lang="de-DE" sz="1600" dirty="0"/>
              <a:t>Rechtzeitige Terminierung und Zeit / Raum für Zwischen- und Abschlussgespräch der Auszubildenden</a:t>
            </a:r>
          </a:p>
          <a:p>
            <a:pPr marL="0" indent="0">
              <a:buNone/>
            </a:pPr>
            <a:endParaRPr lang="de-DE" sz="1600" dirty="0"/>
          </a:p>
          <a:p>
            <a:endParaRPr lang="de-DE" sz="16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F017A6B-668A-485C-9A08-30B74CCC296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" r="-19765"/>
          <a:stretch/>
        </p:blipFill>
        <p:spPr>
          <a:xfrm>
            <a:off x="7180289" y="2060575"/>
            <a:ext cx="6475088" cy="3604328"/>
          </a:xfrm>
          <a:prstGeom prst="flowChartOnlineStorage">
            <a:avLst/>
          </a:prstGeom>
        </p:spPr>
      </p:pic>
    </p:spTree>
    <p:extLst>
      <p:ext uri="{BB962C8B-B14F-4D97-AF65-F5344CB8AC3E}">
        <p14:creationId xmlns:p14="http://schemas.microsoft.com/office/powerpoint/2010/main" val="13892433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 – Aufgaben / Zuständigk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91 ff.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ie sind die Aufgaben und Zuständigkeiten der Praxisanleitenden im jeweiligen Bereich verteilt?</a:t>
            </a:r>
          </a:p>
          <a:p>
            <a:r>
              <a:rPr lang="de-DE" sz="1600" dirty="0"/>
              <a:t>Wer führt die Gespräche? Praxisanleitung vor Ort oder Praxisanleitung der Schule(n)?</a:t>
            </a:r>
          </a:p>
          <a:p>
            <a:r>
              <a:rPr lang="de-DE" sz="1600" dirty="0"/>
              <a:t>Welche Aufgaben sind für die Praxisanleitenden noch vorgesehen?</a:t>
            </a:r>
          </a:p>
          <a:p>
            <a:pPr lvl="1"/>
            <a:r>
              <a:rPr lang="de-DE" sz="1600" dirty="0"/>
              <a:t>Aufgaben im Bereich</a:t>
            </a:r>
          </a:p>
          <a:p>
            <a:pPr lvl="1"/>
            <a:r>
              <a:rPr lang="de-DE" sz="1600" dirty="0"/>
              <a:t>z.B. </a:t>
            </a:r>
            <a:r>
              <a:rPr lang="de-DE" sz="1600" dirty="0" err="1"/>
              <a:t>Praxisanleiter:innen</a:t>
            </a:r>
            <a:r>
              <a:rPr lang="de-DE" sz="1600" dirty="0"/>
              <a:t> Treffen</a:t>
            </a:r>
          </a:p>
          <a:p>
            <a:pPr lvl="1"/>
            <a:r>
              <a:rPr lang="de-DE" sz="1600" dirty="0"/>
              <a:t>Einarbeitung neuer Mitarbeitenden</a:t>
            </a:r>
          </a:p>
          <a:p>
            <a:pPr lvl="1"/>
            <a:r>
              <a:rPr lang="de-DE" sz="1600" dirty="0"/>
              <a:t>Anleitung von Auszubildenden/Studierenden und Teilnehmenden von Weiterbildungen</a:t>
            </a:r>
          </a:p>
        </p:txBody>
      </p:sp>
      <p:pic>
        <p:nvPicPr>
          <p:cNvPr id="8" name="Grafik 7" descr="Klemmbrett">
            <a:extLst>
              <a:ext uri="{FF2B5EF4-FFF2-40B4-BE49-F238E27FC236}">
                <a16:creationId xmlns:a16="http://schemas.microsoft.com/office/drawing/2014/main" id="{A5503B8E-75EA-478A-93AD-2A9C19434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44912" y="2289499"/>
            <a:ext cx="2023200" cy="202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1720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 – Aufgaben / Zuständigk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91 ff.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6781253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ie sind die Aufgaben und Zuständigkeiten der Praxisanleitenden im jeweiligen Bereich verteilt?</a:t>
            </a:r>
          </a:p>
          <a:p>
            <a:r>
              <a:rPr lang="de-DE" sz="1600" dirty="0"/>
              <a:t>Wer führt die Gespräche? Praxisanleitung vor Ort oder Praxisanleitung der Schule(n)?</a:t>
            </a:r>
          </a:p>
          <a:p>
            <a:r>
              <a:rPr lang="de-DE" sz="1600" dirty="0"/>
              <a:t>Welche Aufgaben sind für die Praxisanleitenden noch vorgesehen?</a:t>
            </a:r>
          </a:p>
          <a:p>
            <a:pPr lvl="1"/>
            <a:r>
              <a:rPr lang="de-DE" sz="1600" dirty="0"/>
              <a:t>Aufgaben im Bereich</a:t>
            </a:r>
          </a:p>
          <a:p>
            <a:pPr lvl="1"/>
            <a:r>
              <a:rPr lang="de-DE" sz="1600" dirty="0"/>
              <a:t>z.B. </a:t>
            </a:r>
            <a:r>
              <a:rPr lang="de-DE" sz="1600" dirty="0" err="1"/>
              <a:t>Praxisanleiter:innen</a:t>
            </a:r>
            <a:r>
              <a:rPr lang="de-DE" sz="1600" dirty="0"/>
              <a:t> Treffen</a:t>
            </a:r>
          </a:p>
          <a:p>
            <a:pPr lvl="1"/>
            <a:r>
              <a:rPr lang="de-DE" sz="1600" dirty="0"/>
              <a:t>Einarbeitung neuer Mitarbeitenden</a:t>
            </a:r>
          </a:p>
          <a:p>
            <a:pPr lvl="1"/>
            <a:r>
              <a:rPr lang="de-DE" sz="1600" dirty="0"/>
              <a:t>Anleitung von Auszubildenden/Studierenden und Teilnehmenden von Weiterbildung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B19FDFF-4883-4A35-B81E-9342B9D41AB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" r="-19765"/>
          <a:stretch/>
        </p:blipFill>
        <p:spPr>
          <a:xfrm>
            <a:off x="7180289" y="2060575"/>
            <a:ext cx="6475088" cy="3604328"/>
          </a:xfrm>
          <a:prstGeom prst="flowChartOnlineStorage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5942FDE5-6B52-4D0B-923C-D018D48DE31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" r="-19883"/>
          <a:stretch/>
        </p:blipFill>
        <p:spPr>
          <a:xfrm>
            <a:off x="7180289" y="2060575"/>
            <a:ext cx="6513226" cy="3609057"/>
          </a:xfrm>
          <a:prstGeom prst="flowChartOnlineStorage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AFECD474-26AD-42A5-9307-AB06CCA03977}"/>
              </a:ext>
            </a:extLst>
          </p:cNvPr>
          <p:cNvSpPr txBox="1"/>
          <p:nvPr/>
        </p:nvSpPr>
        <p:spPr>
          <a:xfrm>
            <a:off x="8353582" y="5720406"/>
            <a:ext cx="66675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/>
              <a:t>"</a:t>
            </a:r>
            <a:r>
              <a:rPr lang="de-DE" sz="900" dirty="0">
                <a:hlinkClick r:id="rId5" tooltip="https://www.nurse24.it/infermiere/lavorare-come-infermiere/inghilterra-condizioni-contrattuali-nhs.html"/>
              </a:rPr>
              <a:t>Dieses Foto</a:t>
            </a:r>
            <a:r>
              <a:rPr lang="de-DE" sz="900" dirty="0"/>
              <a:t>" von Unbekannter Autor ist lizenziert gemäß </a:t>
            </a:r>
            <a:r>
              <a:rPr lang="de-DE" sz="900" dirty="0">
                <a:hlinkClick r:id="rId6" tooltip="https://creativecommons.org/licenses/by-nc-nd/3.0/"/>
              </a:rPr>
              <a:t>CC BY-NC-ND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89304566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 – Ausbild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91 ff.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ie wird die Praxisanleitung durch die Vorgaben der jeweiligen Ausbildung und des Ausbildungsträgers organisiert? Wie wird die Praxisanleitung durch den Auszubildenden selbst beeinflusst?</a:t>
            </a:r>
          </a:p>
          <a:p>
            <a:r>
              <a:rPr lang="de-DE" sz="1600" dirty="0"/>
              <a:t>Umfang Praxisanleitung für die jeweilige Berufsgruppe</a:t>
            </a:r>
          </a:p>
          <a:p>
            <a:r>
              <a:rPr lang="de-DE" sz="1600" dirty="0"/>
              <a:t>Vorgaben Schule / Hochschule</a:t>
            </a:r>
          </a:p>
          <a:p>
            <a:r>
              <a:rPr lang="de-DE" sz="1600" dirty="0"/>
              <a:t>Schwerpunkt des praktischen Einsatzes</a:t>
            </a:r>
          </a:p>
          <a:p>
            <a:pPr lvl="1"/>
            <a:r>
              <a:rPr lang="de-DE" sz="1600" dirty="0"/>
              <a:t>Lernaufgaben etc.</a:t>
            </a:r>
          </a:p>
          <a:p>
            <a:pPr lvl="1"/>
            <a:r>
              <a:rPr lang="de-DE" sz="1600" dirty="0"/>
              <a:t>Erwartungshorizont</a:t>
            </a:r>
          </a:p>
          <a:p>
            <a:r>
              <a:rPr lang="de-DE" sz="1600" dirty="0"/>
              <a:t>Persönliche Eigenschaften der Auszubildenden</a:t>
            </a:r>
          </a:p>
          <a:p>
            <a:r>
              <a:rPr lang="de-DE" sz="1600" dirty="0"/>
              <a:t>Ausbildungsstand der/des Einzelnen</a:t>
            </a:r>
          </a:p>
        </p:txBody>
      </p:sp>
      <p:pic>
        <p:nvPicPr>
          <p:cNvPr id="8" name="Grafik 7" descr="Arzt">
            <a:extLst>
              <a:ext uri="{FF2B5EF4-FFF2-40B4-BE49-F238E27FC236}">
                <a16:creationId xmlns:a16="http://schemas.microsoft.com/office/drawing/2014/main" id="{A27F56F9-F733-4F22-8D1A-A78C0E9440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06793" y="2577518"/>
            <a:ext cx="2023200" cy="202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6865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30154F7-F463-42A8-A2E5-80820EC59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9" y="836614"/>
            <a:ext cx="5273572" cy="1333149"/>
          </a:xfrm>
          <a:noFill/>
        </p:spPr>
        <p:txBody>
          <a:bodyPr/>
          <a:lstStyle/>
          <a:p>
            <a:r>
              <a:rPr lang="de-DE" sz="4200" dirty="0"/>
              <a:t>Begriffsbestimmu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6979AE6-79C2-46AF-BD2F-B8B1793C7FDA}"/>
              </a:ext>
            </a:extLst>
          </p:cNvPr>
          <p:cNvSpPr txBox="1"/>
          <p:nvPr/>
        </p:nvSpPr>
        <p:spPr>
          <a:xfrm>
            <a:off x="0" y="6858000"/>
            <a:ext cx="1219199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/>
              <a:t>"</a:t>
            </a:r>
            <a:r>
              <a:rPr lang="de-DE" sz="900">
                <a:hlinkClick r:id="rId2" tooltip="https://wtcs.pressbooks.pub/nursingfundamentals/chapter/2-4-communicating-with-health-care-team-members/"/>
              </a:rPr>
              <a:t>Dieses Foto</a:t>
            </a:r>
            <a:r>
              <a:rPr lang="de-DE" sz="900"/>
              <a:t>" von Unbekannter Autor ist lizenziert gemäß </a:t>
            </a:r>
            <a:r>
              <a:rPr lang="de-DE" sz="900">
                <a:hlinkClick r:id="rId3" tooltip="https://creativecommons.org/licenses/by/3.0/"/>
              </a:rPr>
              <a:t>CC BY</a:t>
            </a:r>
            <a:endParaRPr lang="de-DE" sz="900"/>
          </a:p>
        </p:txBody>
      </p:sp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CBC40FAC-FE35-42DC-8A36-ACA651CA03F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42" b="42"/>
          <a:stretch>
            <a:fillRect/>
          </a:stretch>
        </p:blipFill>
        <p:spPr/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9F0BA7D4-030D-409E-8DFC-D6A7CF37804B}"/>
              </a:ext>
            </a:extLst>
          </p:cNvPr>
          <p:cNvSpPr txBox="1"/>
          <p:nvPr/>
        </p:nvSpPr>
        <p:spPr>
          <a:xfrm>
            <a:off x="1894501" y="6858000"/>
            <a:ext cx="102975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/>
              <a:t>"</a:t>
            </a:r>
            <a:r>
              <a:rPr lang="de-DE" sz="900">
                <a:hlinkClick r:id="rId5" tooltip="https://www.duperrin.com/english/2020/07/16/what-are-the-benefits-of-a-good-employee-experience/"/>
              </a:rPr>
              <a:t>Dieses Foto</a:t>
            </a:r>
            <a:r>
              <a:rPr lang="de-DE" sz="900"/>
              <a:t>" von Unbekannter Autor ist lizenziert gemäß </a:t>
            </a:r>
            <a:r>
              <a:rPr lang="de-DE" sz="900">
                <a:hlinkClick r:id="rId6" tooltip="https://creativecommons.org/licenses/by-nc-sa/3.0/"/>
              </a:rPr>
              <a:t>CC BY-SA-NC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1389826357"/>
      </p:ext>
    </p:extLst>
  </p:cSld>
  <p:clrMapOvr>
    <a:masterClrMapping/>
  </p:clrMapOvr>
  <p:transition spd="slow">
    <p:wip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 – Ausbild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91 ff.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7187067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ie wird die Praxisanleitung durch die Vorgaben der jeweiligen Ausbildung und des Ausbildungsträgers organisiert? </a:t>
            </a:r>
          </a:p>
          <a:p>
            <a:pPr marL="0" indent="0">
              <a:buNone/>
            </a:pPr>
            <a:r>
              <a:rPr lang="de-DE" sz="1600" dirty="0">
                <a:latin typeface="+mj-lt"/>
              </a:rPr>
              <a:t>Wie wird die Praxisanleitung durch den Auszubildenden selbst </a:t>
            </a:r>
          </a:p>
          <a:p>
            <a:pPr marL="0" indent="0">
              <a:buNone/>
            </a:pPr>
            <a:r>
              <a:rPr lang="de-DE" sz="1600" dirty="0">
                <a:latin typeface="+mj-lt"/>
              </a:rPr>
              <a:t>beeinflusst?</a:t>
            </a:r>
          </a:p>
          <a:p>
            <a:r>
              <a:rPr lang="de-DE" sz="1600" dirty="0"/>
              <a:t>Umfang Praxisanleitung für die jeweilige Berufsgruppe</a:t>
            </a:r>
          </a:p>
          <a:p>
            <a:r>
              <a:rPr lang="de-DE" sz="1600" dirty="0"/>
              <a:t>Vorgaben Schule / Hochschule</a:t>
            </a:r>
          </a:p>
          <a:p>
            <a:r>
              <a:rPr lang="de-DE" sz="1600" dirty="0"/>
              <a:t>Schwerpunkt des praktischen Einsatzes</a:t>
            </a:r>
          </a:p>
          <a:p>
            <a:pPr lvl="1"/>
            <a:r>
              <a:rPr lang="de-DE" sz="1600" dirty="0"/>
              <a:t>Lernaufgaben etc.</a:t>
            </a:r>
          </a:p>
          <a:p>
            <a:pPr lvl="1"/>
            <a:r>
              <a:rPr lang="de-DE" sz="1600" dirty="0"/>
              <a:t>Erwartungshorizont</a:t>
            </a:r>
          </a:p>
          <a:p>
            <a:r>
              <a:rPr lang="de-DE" sz="1600" dirty="0"/>
              <a:t>Persönliche Eigenschaften der Auszubildenden</a:t>
            </a:r>
          </a:p>
          <a:p>
            <a:r>
              <a:rPr lang="de-DE" sz="1600" dirty="0"/>
              <a:t>Ausbildungsstand der/des Einzeln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F2C7E17-D619-4428-971D-7232CD19C0D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" r="-19765"/>
          <a:stretch/>
        </p:blipFill>
        <p:spPr>
          <a:xfrm>
            <a:off x="7180289" y="2060575"/>
            <a:ext cx="6475088" cy="3604328"/>
          </a:xfrm>
          <a:prstGeom prst="flowChartOnlineStorage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90342EB-0FF2-44CC-92BC-FFE72D40117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r="-19546"/>
          <a:stretch/>
        </p:blipFill>
        <p:spPr>
          <a:xfrm>
            <a:off x="7180289" y="2066857"/>
            <a:ext cx="6475088" cy="3598046"/>
          </a:xfrm>
          <a:prstGeom prst="flowChartOnlineStorage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5E9EA14F-4A7F-4E8D-8D41-2494258E8374}"/>
              </a:ext>
            </a:extLst>
          </p:cNvPr>
          <p:cNvSpPr txBox="1"/>
          <p:nvPr/>
        </p:nvSpPr>
        <p:spPr>
          <a:xfrm>
            <a:off x="8121233" y="5701664"/>
            <a:ext cx="66675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/>
              <a:t>"</a:t>
            </a:r>
            <a:r>
              <a:rPr lang="de-DE" sz="900">
                <a:hlinkClick r:id="rId5" tooltip="https://www.nurse24.it/infermiere/professione/infermieri-ripartiamo-dalla-formazione.html"/>
              </a:rPr>
              <a:t>Dieses Foto</a:t>
            </a:r>
            <a:r>
              <a:rPr lang="de-DE" sz="900"/>
              <a:t>" von Unbekannter Autor ist lizenziert gemäß </a:t>
            </a:r>
            <a:r>
              <a:rPr lang="de-DE" sz="900">
                <a:hlinkClick r:id="rId6" tooltip="https://creativecommons.org/licenses/by-nc-nd/3.0/"/>
              </a:rPr>
              <a:t>CC BY-NC-ND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249925493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 – Gesetzliche Vorgab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91 ff.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elche Vorgaben schafft die rechtliche Grundlage?</a:t>
            </a:r>
          </a:p>
          <a:p>
            <a:r>
              <a:rPr lang="de-DE" sz="1600" dirty="0"/>
              <a:t>Umfang Praxisanleitung</a:t>
            </a:r>
          </a:p>
          <a:p>
            <a:r>
              <a:rPr lang="de-DE" sz="1600" dirty="0"/>
              <a:t>Vorgabe für Qualifikation der Praxisanleitung</a:t>
            </a:r>
          </a:p>
          <a:p>
            <a:r>
              <a:rPr lang="de-DE" sz="1600" dirty="0"/>
              <a:t>MuSchG, JuSchG, Arbeitszeitgesetz</a:t>
            </a:r>
          </a:p>
          <a:p>
            <a:pPr marL="0" indent="0">
              <a:buNone/>
            </a:pPr>
            <a:endParaRPr lang="de-DE" sz="1600" dirty="0"/>
          </a:p>
        </p:txBody>
      </p:sp>
      <p:pic>
        <p:nvPicPr>
          <p:cNvPr id="8" name="Grafik 7" descr="Waage der Justitia">
            <a:extLst>
              <a:ext uri="{FF2B5EF4-FFF2-40B4-BE49-F238E27FC236}">
                <a16:creationId xmlns:a16="http://schemas.microsoft.com/office/drawing/2014/main" id="{51CB5220-DB38-4AEE-86C1-3144B3F42A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44912" y="2275514"/>
            <a:ext cx="2023200" cy="202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3131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 – Gesetzliche Vorgab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91 ff.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6484685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elche Vorgaben schaffen die rechtliche Grundlage?</a:t>
            </a:r>
          </a:p>
          <a:p>
            <a:r>
              <a:rPr lang="de-DE" sz="1600" dirty="0"/>
              <a:t>Ausbildungs- und Prüfungsverordnungen</a:t>
            </a:r>
          </a:p>
          <a:p>
            <a:r>
              <a:rPr lang="de-DE" sz="1600" dirty="0"/>
              <a:t>Gesetze über die jeweiligen Berufe</a:t>
            </a:r>
          </a:p>
          <a:p>
            <a:r>
              <a:rPr lang="de-DE" sz="1600" dirty="0"/>
              <a:t>Umfang Praxisanleitung</a:t>
            </a:r>
          </a:p>
          <a:p>
            <a:r>
              <a:rPr lang="de-DE" sz="1600" dirty="0"/>
              <a:t>Vorgabe für Qualifikation der Praxisanleitung</a:t>
            </a:r>
          </a:p>
          <a:p>
            <a:r>
              <a:rPr lang="de-DE" sz="1600" dirty="0"/>
              <a:t>MuSchG, JuSchG, Arbeitszeitgesetz, Bundesurlaubsgesetz</a:t>
            </a:r>
          </a:p>
          <a:p>
            <a:pPr marL="0" indent="0">
              <a:buNone/>
            </a:pPr>
            <a:endParaRPr lang="de-DE" sz="16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3938AE4-F84B-4E05-A3CD-8A9B35B67E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" r="-19765"/>
          <a:stretch/>
        </p:blipFill>
        <p:spPr>
          <a:xfrm>
            <a:off x="7180289" y="2060575"/>
            <a:ext cx="6475088" cy="3604328"/>
          </a:xfrm>
          <a:prstGeom prst="flowChartOnlineStorage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5F1D28F7-63DB-4857-A68B-B335CF8FB28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r="-19806"/>
          <a:stretch/>
        </p:blipFill>
        <p:spPr>
          <a:xfrm>
            <a:off x="7170692" y="2060575"/>
            <a:ext cx="6484685" cy="3604328"/>
          </a:xfrm>
          <a:prstGeom prst="flowChartOnlineStorage">
            <a:avLst/>
          </a:prstGeom>
        </p:spPr>
      </p:pic>
    </p:spTree>
    <p:extLst>
      <p:ext uri="{BB962C8B-B14F-4D97-AF65-F5344CB8AC3E}">
        <p14:creationId xmlns:p14="http://schemas.microsoft.com/office/powerpoint/2010/main" val="33697597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 – Kommunik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91 ff.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ie sind Strukturen der Kommunikation im Unternehmen und zwischen allen Beteiligten?</a:t>
            </a:r>
          </a:p>
          <a:p>
            <a:r>
              <a:rPr lang="de-DE" sz="1600" dirty="0"/>
              <a:t>Verbindliche Kommunikationsstrukturen</a:t>
            </a:r>
          </a:p>
          <a:p>
            <a:r>
              <a:rPr lang="de-DE" sz="1600" dirty="0"/>
              <a:t>Kontakt und Informationsaustausch zwischen den Beteiligten</a:t>
            </a:r>
          </a:p>
          <a:p>
            <a:r>
              <a:rPr lang="de-DE" sz="1600" dirty="0"/>
              <a:t>Einfache Regeln der Kommunikation kennen und anwenden</a:t>
            </a:r>
          </a:p>
          <a:p>
            <a:pPr marL="0" indent="0">
              <a:buNone/>
            </a:pPr>
            <a:endParaRPr lang="de-DE" sz="1600" dirty="0"/>
          </a:p>
        </p:txBody>
      </p:sp>
      <p:pic>
        <p:nvPicPr>
          <p:cNvPr id="8" name="Grafik 7" descr="Chat RNL">
            <a:extLst>
              <a:ext uri="{FF2B5EF4-FFF2-40B4-BE49-F238E27FC236}">
                <a16:creationId xmlns:a16="http://schemas.microsoft.com/office/drawing/2014/main" id="{E0EE0FAF-C8EB-4986-A063-EB3651A23E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44912" y="2309069"/>
            <a:ext cx="2023200" cy="202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3992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 – Kommunik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91 ff.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6961135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ie sind Strukturen der Kommunikation im Unternehmen und zwischen allen Beteiligten?</a:t>
            </a:r>
          </a:p>
          <a:p>
            <a:r>
              <a:rPr lang="de-DE" sz="1600" dirty="0"/>
              <a:t>Verbindliche Kommunikationsstrukturen</a:t>
            </a:r>
          </a:p>
          <a:p>
            <a:r>
              <a:rPr lang="de-DE" sz="1600" dirty="0"/>
              <a:t>Kontakt und Informationsaustausch zwischen den Beteiligten</a:t>
            </a:r>
          </a:p>
          <a:p>
            <a:r>
              <a:rPr lang="de-DE" sz="1600" dirty="0"/>
              <a:t>Einfache Regeln der Kommunikation kennen und anwenden</a:t>
            </a:r>
          </a:p>
          <a:p>
            <a:pPr marL="0" indent="0">
              <a:buNone/>
            </a:pPr>
            <a:endParaRPr lang="de-DE" sz="16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8360B69-0125-4807-BB0F-655E21472B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" r="-19765"/>
          <a:stretch/>
        </p:blipFill>
        <p:spPr>
          <a:xfrm>
            <a:off x="7180289" y="2060575"/>
            <a:ext cx="6475088" cy="3604328"/>
          </a:xfrm>
          <a:prstGeom prst="flowChartOnlineStorage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7AC15CD-70D5-43A2-A205-5B6E608F89A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-1" r="-20040"/>
          <a:stretch/>
        </p:blipFill>
        <p:spPr>
          <a:xfrm>
            <a:off x="7180289" y="2060575"/>
            <a:ext cx="6402439" cy="3604328"/>
          </a:xfrm>
          <a:prstGeom prst="flowChartOnlineStorage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920E72EA-AF8C-4370-A54C-E461447E32D8}"/>
              </a:ext>
            </a:extLst>
          </p:cNvPr>
          <p:cNvSpPr txBox="1"/>
          <p:nvPr/>
        </p:nvSpPr>
        <p:spPr>
          <a:xfrm>
            <a:off x="8327934" y="5684771"/>
            <a:ext cx="386406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/>
              <a:t>"</a:t>
            </a:r>
            <a:r>
              <a:rPr lang="de-DE" sz="900" dirty="0">
                <a:hlinkClick r:id="rId5" tooltip="https://taliawhyte.com/2015/01/28/the-benefits-of-workforce-diversity-in-todays-economy/"/>
              </a:rPr>
              <a:t>Dieses Foto</a:t>
            </a:r>
            <a:r>
              <a:rPr lang="de-DE" sz="900" dirty="0"/>
              <a:t>" von Unbekannter Autor ist lizenziert gemäß </a:t>
            </a:r>
            <a:r>
              <a:rPr lang="de-DE" sz="900" dirty="0">
                <a:hlinkClick r:id="rId6" tooltip="https://creativecommons.org/licenses/by-nc-sa/3.0/"/>
              </a:rPr>
              <a:t>CC BY-SA-NC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17436976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hmenbedingungen mitgest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92</a:t>
            </a:r>
          </a:p>
        </p:txBody>
      </p:sp>
      <p:graphicFrame>
        <p:nvGraphicFramePr>
          <p:cNvPr id="3" name="Inhaltsplatzhalter 2">
            <a:extLst>
              <a:ext uri="{FF2B5EF4-FFF2-40B4-BE49-F238E27FC236}">
                <a16:creationId xmlns:a16="http://schemas.microsoft.com/office/drawing/2014/main" id="{22F5F4A0-3F9B-436F-B8DB-975B27F19DD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5736409"/>
              </p:ext>
            </p:extLst>
          </p:nvPr>
        </p:nvGraphicFramePr>
        <p:xfrm>
          <a:off x="623888" y="1821323"/>
          <a:ext cx="9783224" cy="43211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97966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CAC6801-FEEA-4FB3-B3AA-959B6F1F27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graphicEl>
                                              <a:dgm id="{0CAC6801-FEEA-4FB3-B3AA-959B6F1F272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C302653A-D7AB-4A00-B4E2-77F1A111322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graphicEl>
                                              <a:dgm id="{C302653A-D7AB-4A00-B4E2-77F1A111322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BA78D5B-4E89-49E9-B310-F08146E07D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3">
                                            <p:graphicEl>
                                              <a:dgm id="{7BA78D5B-4E89-49E9-B310-F08146E07D2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A7B44C7-CAF8-4071-A3BD-F217F1D928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">
                                            <p:graphicEl>
                                              <a:dgm id="{EA7B44C7-CAF8-4071-A3BD-F217F1D9280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4F426EC0-E9A0-4CCD-82EE-6D274B5B03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">
                                            <p:graphicEl>
                                              <a:dgm id="{4F426EC0-E9A0-4CCD-82EE-6D274B5B033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Dgm bld="one"/>
        </p:bldSub>
      </p:bldGraphic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258D77B-9D88-45CE-85B9-4D3E8565722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Kommunik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12C5EC7-12BC-418F-9E27-20C7B43300E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14B7FD2F-1E8F-4943-834E-5836B7E92F8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5604" b="5604"/>
          <a:stretch>
            <a:fillRect/>
          </a:stretch>
        </p:blipFill>
        <p:spPr/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8C6106A9-021B-4C44-9ED5-695D1B29DEE1}"/>
              </a:ext>
            </a:extLst>
          </p:cNvPr>
          <p:cNvSpPr txBox="1"/>
          <p:nvPr/>
        </p:nvSpPr>
        <p:spPr>
          <a:xfrm>
            <a:off x="1894501" y="6858000"/>
            <a:ext cx="102975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/>
              <a:t>"</a:t>
            </a:r>
            <a:r>
              <a:rPr lang="de-DE" sz="900">
                <a:hlinkClick r:id="rId3" tooltip="https://www.feuerwehr-freising.de/hand-in-hand-fuer-eine-schnelle-rettung/"/>
              </a:rPr>
              <a:t>Dieses Foto</a:t>
            </a:r>
            <a:r>
              <a:rPr lang="de-DE" sz="900"/>
              <a:t>" von Unbekannter Autor ist lizenziert gemäß </a:t>
            </a:r>
            <a:r>
              <a:rPr lang="de-DE" sz="900">
                <a:hlinkClick r:id="rId4" tooltip="https://creativecommons.org/licenses/by-nc-nd/3.0/"/>
              </a:rPr>
              <a:t>CC BY-NC-ND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33847627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 als </a:t>
            </a:r>
            <a:r>
              <a:rPr lang="de-DE" dirty="0" err="1"/>
              <a:t>Praxisanleitende:r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Gespräche &amp; Gesprächsarten als </a:t>
            </a:r>
            <a:r>
              <a:rPr lang="de-DE" sz="1600" dirty="0" err="1">
                <a:latin typeface="+mj-lt"/>
              </a:rPr>
              <a:t>Praxisanleitende:r</a:t>
            </a:r>
            <a:endParaRPr lang="de-DE" sz="1600" dirty="0">
              <a:latin typeface="+mj-lt"/>
            </a:endParaRPr>
          </a:p>
          <a:p>
            <a:r>
              <a:rPr lang="de-DE" sz="1600" dirty="0"/>
              <a:t>Bitte beantworte die Fragen: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sz="1600" dirty="0"/>
              <a:t>Welche Gespräche führst Du wie &amp; wann rund um die Anleitung?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sz="1600" dirty="0"/>
              <a:t>Welche Gespräche führst Du wie &amp; wann mit Auszubildenden / Studierenden / o.ä. im Allgemeinen und rund um die Ausbildung?</a:t>
            </a:r>
          </a:p>
          <a:p>
            <a:pPr marL="0" indent="0">
              <a:buNone/>
            </a:pPr>
            <a:endParaRPr lang="de-DE" sz="1600" dirty="0"/>
          </a:p>
          <a:p>
            <a:r>
              <a:rPr lang="de-DE" sz="1600" dirty="0"/>
              <a:t>Arbeitet zu zweit und sammelt Eure Ergebnisse auf Moderationskarten.</a:t>
            </a:r>
          </a:p>
          <a:p>
            <a:pPr marL="0" indent="0">
              <a:buNone/>
            </a:pPr>
            <a:r>
              <a:rPr lang="de-DE" sz="1600" dirty="0"/>
              <a:t>	Anleitung </a:t>
            </a:r>
            <a:r>
              <a:rPr lang="de-DE" sz="1600" b="1" dirty="0">
                <a:solidFill>
                  <a:srgbClr val="463787"/>
                </a:solidFill>
              </a:rPr>
              <a:t>blaue</a:t>
            </a:r>
            <a:r>
              <a:rPr lang="de-DE" sz="1600" dirty="0"/>
              <a:t>/</a:t>
            </a:r>
            <a:r>
              <a:rPr lang="de-DE" sz="1600" b="1" dirty="0">
                <a:solidFill>
                  <a:srgbClr val="1ABA01"/>
                </a:solidFill>
              </a:rPr>
              <a:t>grüne</a:t>
            </a:r>
            <a:r>
              <a:rPr lang="de-DE" sz="1600" dirty="0"/>
              <a:t> Karten</a:t>
            </a:r>
          </a:p>
          <a:p>
            <a:pPr marL="0" indent="0">
              <a:buNone/>
            </a:pPr>
            <a:r>
              <a:rPr lang="de-DE" sz="1600" dirty="0"/>
              <a:t>	Auszubildende </a:t>
            </a:r>
            <a:r>
              <a:rPr lang="de-DE" sz="1600" b="1" dirty="0">
                <a:solidFill>
                  <a:srgbClr val="FFC000"/>
                </a:solidFill>
              </a:rPr>
              <a:t>gelbe</a:t>
            </a:r>
            <a:r>
              <a:rPr lang="de-DE" sz="1600" dirty="0"/>
              <a:t>/</a:t>
            </a:r>
            <a:r>
              <a:rPr lang="de-DE" sz="1600" b="1" dirty="0">
                <a:solidFill>
                  <a:schemeClr val="bg1"/>
                </a:solidFill>
                <a:highlight>
                  <a:srgbClr val="808080"/>
                </a:highlight>
              </a:rPr>
              <a:t>weiße</a:t>
            </a:r>
            <a:r>
              <a:rPr lang="de-DE" sz="1600" dirty="0"/>
              <a:t> Karten</a:t>
            </a:r>
          </a:p>
          <a:p>
            <a:r>
              <a:rPr lang="de-DE" sz="1600" dirty="0"/>
              <a:t>Ihr habt dazu 15 Minuten Zeit.</a:t>
            </a:r>
          </a:p>
          <a:p>
            <a:r>
              <a:rPr lang="de-DE" sz="1600" dirty="0"/>
              <a:t>Die Ergebnisse werden an der Metaplanwand gesammelt.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1071040" cy="140859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" name="Grafik 9" descr="Besprechung">
            <a:extLst>
              <a:ext uri="{FF2B5EF4-FFF2-40B4-BE49-F238E27FC236}">
                <a16:creationId xmlns:a16="http://schemas.microsoft.com/office/drawing/2014/main" id="{1F692951-07E5-4B09-8D6B-6759251DB0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56782" y="1515208"/>
            <a:ext cx="3338146" cy="3338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39961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präche als </a:t>
            </a:r>
            <a:r>
              <a:rPr lang="de-DE" dirty="0" err="1"/>
              <a:t>Praxisanleitende:r</a:t>
            </a:r>
            <a:br>
              <a:rPr lang="de-DE" dirty="0"/>
            </a:br>
            <a:r>
              <a:rPr lang="de-DE" dirty="0"/>
              <a:t>– Ergebnissicherung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2612371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Ergebnissicherung | Gemeinsamer Start WB | April 2026</a:t>
            </a:r>
          </a:p>
          <a:p>
            <a:endParaRPr lang="de-DE" sz="1600" dirty="0">
              <a:latin typeface="+mj-lt"/>
            </a:endParaRP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07994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B6A80F3F-4DD3-A70E-CDEF-81152F2C28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67E932-7E17-1CEE-1F80-2DF3EDFBF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präche als </a:t>
            </a:r>
            <a:r>
              <a:rPr lang="de-DE" dirty="0" err="1"/>
              <a:t>Praxisanleitende:r</a:t>
            </a:r>
            <a:br>
              <a:rPr lang="de-DE" dirty="0"/>
            </a:br>
            <a:r>
              <a:rPr lang="de-DE" dirty="0"/>
              <a:t>– Ergebnissicherung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7F273E35-D26B-8DB5-D312-821476CDC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Ergebnissicherung | PA H25 | September 2025</a:t>
            </a:r>
          </a:p>
          <a:p>
            <a:endParaRPr lang="de-DE" sz="1600" dirty="0">
              <a:latin typeface="+mj-lt"/>
            </a:endParaRP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C47F7B-4F16-AF35-F9E0-EA46B6DE92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E06FAC-6395-DE24-2093-C40A579138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76E4C4-E1E5-3A43-E3C2-91E7AC2799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39</a:t>
            </a:fld>
            <a:endParaRPr lang="de-DE" dirty="0"/>
          </a:p>
        </p:txBody>
      </p:sp>
      <p:pic>
        <p:nvPicPr>
          <p:cNvPr id="233474" name="B0F21DB6-1863-4245-B727-225459A76252" descr="IMG_8669.jpg">
            <a:extLst>
              <a:ext uri="{FF2B5EF4-FFF2-40B4-BE49-F238E27FC236}">
                <a16:creationId xmlns:a16="http://schemas.microsoft.com/office/drawing/2014/main" id="{96CAA192-0687-EDC3-761F-5240A9CC3E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63" t="10072" r="13738" b="5969"/>
          <a:stretch/>
        </p:blipFill>
        <p:spPr bwMode="auto">
          <a:xfrm rot="5400000">
            <a:off x="5882637" y="623333"/>
            <a:ext cx="6858000" cy="5611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02916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469E3FE-98CD-4882-8108-C2231CB12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469E3FE-98CD-4882-8108-C2231CB12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C7BA182-EAB4-46B4-BD66-B4553C45C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BC-Quiz – Begriffsbestimmun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C15A2C-AD7D-47F8-81A4-677C7B1951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  <a:sym typeface="+mn-lt"/>
              </a:rPr>
              <a:t>Bitte bearbeite das ABC-Quiz </a:t>
            </a:r>
          </a:p>
          <a:p>
            <a:r>
              <a:rPr lang="de-DE" sz="1600" dirty="0">
                <a:sym typeface="+mn-lt"/>
              </a:rPr>
              <a:t>Suche dazu zu jedem Buchstaben einen Begriff, den Du mit Praxisanleitung verbindest.</a:t>
            </a:r>
          </a:p>
          <a:p>
            <a:r>
              <a:rPr lang="de-DE" sz="1600" dirty="0">
                <a:sym typeface="+mn-lt"/>
              </a:rPr>
              <a:t>Du hast für die Bearbeitung 15 Minuten Zeit. </a:t>
            </a:r>
          </a:p>
          <a:p>
            <a:r>
              <a:rPr lang="de-DE" sz="1600" dirty="0">
                <a:sym typeface="+mn-lt"/>
              </a:rPr>
              <a:t>Bitte tausche Dich danach 5 Minuten mit Deinem/Deiner Sitznachbar/in aus.</a:t>
            </a:r>
          </a:p>
          <a:p>
            <a:r>
              <a:rPr lang="de-DE" sz="1600" dirty="0">
                <a:sym typeface="+mn-lt"/>
              </a:rPr>
              <a:t>Die Besprechung der Ergebnisse erfolgt im Plenum.</a:t>
            </a:r>
          </a:p>
          <a:p>
            <a:pPr marL="0" indent="0">
              <a:buNone/>
            </a:pPr>
            <a:endParaRPr lang="de-DE" sz="1600" dirty="0">
              <a:sym typeface="+mn-lt"/>
            </a:endParaRP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6F8098-73F7-4DF5-98D5-05126E37FE3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838039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B69332F-3E3A-447E-B968-6EFD28068C8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7" y="623094"/>
            <a:ext cx="10854939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AD1728A-0DD4-4D1D-A6F7-D52F2F1BB60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3636079-0DF5-4DE9-99EA-555B1C58B2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8010112" y="2104544"/>
            <a:ext cx="4181887" cy="256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9013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präche als </a:t>
            </a:r>
            <a:r>
              <a:rPr lang="de-DE" dirty="0" err="1"/>
              <a:t>Praxisan</a:t>
            </a:r>
            <a:r>
              <a:rPr lang="de-DE" dirty="0"/>
              <a:t>-</a:t>
            </a:r>
            <a:br>
              <a:rPr lang="de-DE" dirty="0"/>
            </a:br>
            <a:r>
              <a:rPr lang="de-DE" dirty="0" err="1"/>
              <a:t>leitende:r</a:t>
            </a:r>
            <a:r>
              <a:rPr lang="de-DE" dirty="0"/>
              <a:t> – Ergebnissicherung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Ergebnissicherung | PA F25 | Februar 2025</a:t>
            </a:r>
          </a:p>
          <a:p>
            <a:endParaRPr lang="de-DE" sz="1600" dirty="0">
              <a:latin typeface="+mj-lt"/>
            </a:endParaRP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1071040" cy="140860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" name="Grafik 9" descr="Besprechung">
            <a:extLst>
              <a:ext uri="{FF2B5EF4-FFF2-40B4-BE49-F238E27FC236}">
                <a16:creationId xmlns:a16="http://schemas.microsoft.com/office/drawing/2014/main" id="{1F692951-07E5-4B09-8D6B-6759251DB0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56782" y="1515208"/>
            <a:ext cx="3338146" cy="3338146"/>
          </a:xfrm>
          <a:prstGeom prst="rect">
            <a:avLst/>
          </a:prstGeom>
        </p:spPr>
      </p:pic>
      <p:pic>
        <p:nvPicPr>
          <p:cNvPr id="230402" name="404083C8-0F6F-49EE-8437-6174D3328142" descr="IMG_1524.jpg">
            <a:extLst>
              <a:ext uri="{FF2B5EF4-FFF2-40B4-BE49-F238E27FC236}">
                <a16:creationId xmlns:a16="http://schemas.microsoft.com/office/drawing/2014/main" id="{8EFAB408-7818-4617-B697-B184AA0C84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15" t="12006" r="14028" b="8992"/>
          <a:stretch/>
        </p:blipFill>
        <p:spPr bwMode="auto">
          <a:xfrm rot="5400000">
            <a:off x="5524740" y="414421"/>
            <a:ext cx="6873481" cy="6044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487768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präche als </a:t>
            </a:r>
            <a:r>
              <a:rPr lang="de-DE" dirty="0" err="1"/>
              <a:t>Praxisan</a:t>
            </a:r>
            <a:r>
              <a:rPr lang="de-DE" dirty="0"/>
              <a:t>-</a:t>
            </a:r>
            <a:br>
              <a:rPr lang="de-DE" dirty="0"/>
            </a:br>
            <a:r>
              <a:rPr lang="de-DE" dirty="0" err="1"/>
              <a:t>leitende:r</a:t>
            </a:r>
            <a:r>
              <a:rPr lang="de-DE" dirty="0"/>
              <a:t> – Ergebnissicherung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Ergebnissicherung | PA H24 | 12. Juni 2024</a:t>
            </a:r>
          </a:p>
          <a:p>
            <a:endParaRPr lang="de-DE" sz="1600" dirty="0">
              <a:latin typeface="+mj-lt"/>
            </a:endParaRP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1071040" cy="140860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" name="Grafik 9" descr="Besprechung">
            <a:extLst>
              <a:ext uri="{FF2B5EF4-FFF2-40B4-BE49-F238E27FC236}">
                <a16:creationId xmlns:a16="http://schemas.microsoft.com/office/drawing/2014/main" id="{1F692951-07E5-4B09-8D6B-6759251DB0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56782" y="1515208"/>
            <a:ext cx="3338146" cy="3338146"/>
          </a:xfrm>
          <a:prstGeom prst="rect">
            <a:avLst/>
          </a:prstGeom>
        </p:spPr>
      </p:pic>
      <p:pic>
        <p:nvPicPr>
          <p:cNvPr id="225282" name="BF179B09-F7BB-4ADA-AF18-1A6867F99359" descr="IMG_1768.jpg">
            <a:extLst>
              <a:ext uri="{FF2B5EF4-FFF2-40B4-BE49-F238E27FC236}">
                <a16:creationId xmlns:a16="http://schemas.microsoft.com/office/drawing/2014/main" id="{2F9F5746-238F-4B0B-9549-3DFB17D6D7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97" t="2845" r="10091" b="4195"/>
          <a:stretch/>
        </p:blipFill>
        <p:spPr bwMode="auto">
          <a:xfrm rot="5400000">
            <a:off x="5440725" y="257357"/>
            <a:ext cx="6762420" cy="6438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62459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 als </a:t>
            </a:r>
            <a:r>
              <a:rPr lang="de-DE" dirty="0" err="1"/>
              <a:t>Praxisanleitende:r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7199312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Ergebnis der Gruppe: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" name="Grafik 9" descr="Besprechung">
            <a:extLst>
              <a:ext uri="{FF2B5EF4-FFF2-40B4-BE49-F238E27FC236}">
                <a16:creationId xmlns:a16="http://schemas.microsoft.com/office/drawing/2014/main" id="{1F692951-07E5-4B09-8D6B-6759251DB0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56782" y="1515208"/>
            <a:ext cx="3338146" cy="3338146"/>
          </a:xfrm>
          <a:prstGeom prst="rect">
            <a:avLst/>
          </a:prstGeom>
        </p:spPr>
      </p:pic>
      <p:pic>
        <p:nvPicPr>
          <p:cNvPr id="223235" name="Picture 3" descr="f1be87b3-5eee-4191-97c8-e0804038c110@skbs">
            <a:extLst>
              <a:ext uri="{FF2B5EF4-FFF2-40B4-BE49-F238E27FC236}">
                <a16:creationId xmlns:a16="http://schemas.microsoft.com/office/drawing/2014/main" id="{A00682F6-6218-40AE-B3FB-0300763364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23" b="8140"/>
          <a:stretch/>
        </p:blipFill>
        <p:spPr bwMode="auto">
          <a:xfrm>
            <a:off x="2783957" y="1294909"/>
            <a:ext cx="5166060" cy="5347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026727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präche als </a:t>
            </a:r>
            <a:r>
              <a:rPr lang="de-DE" dirty="0" err="1"/>
              <a:t>Praxisanleitende:r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ArbeitGestalten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 (Hrsg.) (2021), S. 14 ff.</a:t>
            </a:r>
          </a:p>
        </p:txBody>
      </p:sp>
      <p:graphicFrame>
        <p:nvGraphicFramePr>
          <p:cNvPr id="3" name="Inhaltsplatzhalter 2">
            <a:extLst>
              <a:ext uri="{FF2B5EF4-FFF2-40B4-BE49-F238E27FC236}">
                <a16:creationId xmlns:a16="http://schemas.microsoft.com/office/drawing/2014/main" id="{8F839C80-C8AF-4010-9E6F-6F8A12E987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56658181"/>
              </p:ext>
            </p:extLst>
          </p:nvPr>
        </p:nvGraphicFramePr>
        <p:xfrm>
          <a:off x="623888" y="1916723"/>
          <a:ext cx="10197427" cy="38407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165327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präche als </a:t>
            </a:r>
            <a:r>
              <a:rPr lang="de-DE" dirty="0" err="1"/>
              <a:t>Praxisanleitende:r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ArbeitGestalten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 (Hrsg.) (2021), S. 14 ff.</a:t>
            </a:r>
          </a:p>
        </p:txBody>
      </p:sp>
      <p:graphicFrame>
        <p:nvGraphicFramePr>
          <p:cNvPr id="3" name="Inhaltsplatzhalter 2">
            <a:extLst>
              <a:ext uri="{FF2B5EF4-FFF2-40B4-BE49-F238E27FC236}">
                <a16:creationId xmlns:a16="http://schemas.microsoft.com/office/drawing/2014/main" id="{8F839C80-C8AF-4010-9E6F-6F8A12E987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60459978"/>
              </p:ext>
            </p:extLst>
          </p:nvPr>
        </p:nvGraphicFramePr>
        <p:xfrm>
          <a:off x="623888" y="1916723"/>
          <a:ext cx="10197427" cy="38407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Legende: mit gebogener Linie 7">
            <a:extLst>
              <a:ext uri="{FF2B5EF4-FFF2-40B4-BE49-F238E27FC236}">
                <a16:creationId xmlns:a16="http://schemas.microsoft.com/office/drawing/2014/main" id="{E07099BB-47C6-4E1D-9E3C-CF4C0D82D127}"/>
              </a:ext>
            </a:extLst>
          </p:cNvPr>
          <p:cNvSpPr/>
          <p:nvPr/>
        </p:nvSpPr>
        <p:spPr>
          <a:xfrm>
            <a:off x="7482979" y="2692866"/>
            <a:ext cx="4219663" cy="67741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18692"/>
              <a:gd name="adj6" fmla="val -30166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Vorstellung der Gesprächsleitfäden</a:t>
            </a:r>
          </a:p>
        </p:txBody>
      </p:sp>
    </p:spTree>
    <p:extLst>
      <p:ext uri="{BB962C8B-B14F-4D97-AF65-F5344CB8AC3E}">
        <p14:creationId xmlns:p14="http://schemas.microsoft.com/office/powerpoint/2010/main" val="219239388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6D070536-CCA1-4F7B-81D1-CEB5AE6D8C6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7834" b="7834"/>
          <a:stretch>
            <a:fillRect/>
          </a:stretch>
        </p:blipFill>
        <p:spPr/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E869206-59D4-48B7-A909-94ACDD0BE0E1}"/>
              </a:ext>
            </a:extLst>
          </p:cNvPr>
          <p:cNvSpPr txBox="1"/>
          <p:nvPr/>
        </p:nvSpPr>
        <p:spPr>
          <a:xfrm>
            <a:off x="0" y="6858000"/>
            <a:ext cx="1219199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/>
              <a:t>"</a:t>
            </a:r>
            <a:r>
              <a:rPr lang="de-DE" sz="900">
                <a:hlinkClick r:id="rId3" tooltip="https://wiebke-wetzel.de/4-ebenen-der-kommunikation/"/>
              </a:rPr>
              <a:t>Dieses Foto</a:t>
            </a:r>
            <a:r>
              <a:rPr lang="de-DE" sz="900"/>
              <a:t>" von Unbekannter Autor ist lizenziert gemäß </a:t>
            </a:r>
            <a:r>
              <a:rPr lang="de-DE" sz="900">
                <a:hlinkClick r:id="rId4" tooltip="https://creativecommons.org/licenses/by-sa/3.0/"/>
              </a:rPr>
              <a:t>CC BY-SA</a:t>
            </a:r>
            <a:endParaRPr lang="de-DE" sz="90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6F3123C-2F84-44B4-9050-7959108B0C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1503809"/>
            <a:ext cx="6095999" cy="1321837"/>
          </a:xfrm>
          <a:solidFill>
            <a:srgbClr val="C8E4D2"/>
          </a:solidFill>
        </p:spPr>
        <p:txBody>
          <a:bodyPr/>
          <a:lstStyle/>
          <a:p>
            <a:r>
              <a:rPr lang="de-DE" dirty="0"/>
              <a:t>	Kommunikations-	</a:t>
            </a:r>
            <a:r>
              <a:rPr lang="de-DE" dirty="0" err="1"/>
              <a:t>model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808106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6D9A48-D530-4B23-864B-0BC4FECF5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004BF88E-0605-40DD-84E2-CFB3CD8655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72484057"/>
              </p:ext>
            </p:extLst>
          </p:nvPr>
        </p:nvGraphicFramePr>
        <p:xfrm>
          <a:off x="1248144" y="1705183"/>
          <a:ext cx="8854220" cy="4309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5FF7F7D-4C84-48A3-8733-EAC4205513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1204307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A3515B6-CEAE-4C55-88B7-FE3CA0ECC7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304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FAB0EA-7C65-42CD-BC7D-9364882AC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162350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Kommunikationsmodelle sind die Grundlage</a:t>
            </a:r>
          </a:p>
          <a:p>
            <a:r>
              <a:rPr lang="de-DE" sz="1600" dirty="0"/>
              <a:t>Bitte bearbeitet als Gruppe jeweils ein Kommunikationsmodell. </a:t>
            </a:r>
          </a:p>
          <a:p>
            <a:r>
              <a:rPr lang="de-DE" sz="1600" dirty="0"/>
              <a:t>Ihr habt für die Bearbeitung </a:t>
            </a:r>
            <a:r>
              <a:rPr lang="de-DE" sz="1600" b="1" dirty="0"/>
              <a:t>45 Minuten </a:t>
            </a:r>
            <a:r>
              <a:rPr lang="de-DE" sz="1600" dirty="0"/>
              <a:t>Zeit.</a:t>
            </a:r>
          </a:p>
          <a:p>
            <a:pPr marL="0" indent="0">
              <a:buNone/>
            </a:pPr>
            <a:endParaRPr lang="de-DE" sz="1600" dirty="0"/>
          </a:p>
          <a:p>
            <a:r>
              <a:rPr lang="de-DE" sz="1600" dirty="0"/>
              <a:t>Erarbeitet Euch dazu die wichtigsten Informationen und Fakten. Stellt diese Inhalte auf einem </a:t>
            </a:r>
            <a:r>
              <a:rPr lang="de-DE" sz="1600" dirty="0" err="1"/>
              <a:t>Flipchartpapier</a:t>
            </a:r>
            <a:r>
              <a:rPr lang="de-DE" sz="1600" dirty="0"/>
              <a:t> anschaulich dar. Werdet gerne auch kreativ.</a:t>
            </a:r>
          </a:p>
          <a:p>
            <a:r>
              <a:rPr lang="de-DE" sz="1600" dirty="0"/>
              <a:t>Im Anschluss präsentiert jede Gruppe das Kommunikationsmodell in einem 5 minütigen Vortrag.</a:t>
            </a:r>
          </a:p>
          <a:p>
            <a:endParaRPr lang="de-DE" sz="1600" dirty="0"/>
          </a:p>
          <a:p>
            <a:r>
              <a:rPr lang="de-DE" sz="1600" dirty="0"/>
              <a:t>Die Gruppe wird ausgelost </a:t>
            </a:r>
            <a:r>
              <a:rPr lang="de-DE" sz="1600" dirty="0">
                <a:sym typeface="Wingdings" panose="05000000000000000000" pitchFamily="2" charset="2"/>
              </a:rPr>
              <a:t></a:t>
            </a: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" name="Grafik 9" descr="Besprechung">
            <a:extLst>
              <a:ext uri="{FF2B5EF4-FFF2-40B4-BE49-F238E27FC236}">
                <a16:creationId xmlns:a16="http://schemas.microsoft.com/office/drawing/2014/main" id="{1F692951-07E5-4B09-8D6B-6759251DB0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56782" y="1515208"/>
            <a:ext cx="3338146" cy="3338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99926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6D9A48-D530-4B23-864B-0BC4FECF5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004BF88E-0605-40DD-84E2-CFB3CD8655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60548036"/>
              </p:ext>
            </p:extLst>
          </p:nvPr>
        </p:nvGraphicFramePr>
        <p:xfrm>
          <a:off x="-697699" y="1544248"/>
          <a:ext cx="9190646" cy="45297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5FF7F7D-4C84-48A3-8733-EAC4205513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1204307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A3515B6-CEAE-4C55-88B7-FE3CA0ECC7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304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FAB0EA-7C65-42CD-BC7D-9364882AC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FCB3114-32A9-4A47-A17D-81347BC7E1EF}"/>
              </a:ext>
            </a:extLst>
          </p:cNvPr>
          <p:cNvSpPr/>
          <p:nvPr/>
        </p:nvSpPr>
        <p:spPr>
          <a:xfrm>
            <a:off x="7487586" y="1566733"/>
            <a:ext cx="4080525" cy="704277"/>
          </a:xfrm>
          <a:prstGeom prst="rect">
            <a:avLst/>
          </a:prstGeom>
          <a:solidFill>
            <a:srgbClr val="ECE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Gruppe 1 / 2 / 3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E5CA598-97C9-41DB-9EA7-C2B65A0F9ED7}"/>
              </a:ext>
            </a:extLst>
          </p:cNvPr>
          <p:cNvSpPr/>
          <p:nvPr/>
        </p:nvSpPr>
        <p:spPr>
          <a:xfrm>
            <a:off x="7487586" y="2508283"/>
            <a:ext cx="4080525" cy="704277"/>
          </a:xfrm>
          <a:prstGeom prst="rect">
            <a:avLst/>
          </a:prstGeom>
          <a:solidFill>
            <a:srgbClr val="E4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Gruppe 4 / 5 / 6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61FDFBB-EB6A-42B5-B382-9DFE0B133440}"/>
              </a:ext>
            </a:extLst>
          </p:cNvPr>
          <p:cNvSpPr/>
          <p:nvPr/>
        </p:nvSpPr>
        <p:spPr>
          <a:xfrm>
            <a:off x="7487585" y="3456970"/>
            <a:ext cx="4080525" cy="704277"/>
          </a:xfrm>
          <a:prstGeom prst="rect">
            <a:avLst/>
          </a:prstGeom>
          <a:solidFill>
            <a:srgbClr val="DEE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Gruppe 7 / 8 / 9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B062462-D1EC-46F8-A9E1-0DF856C09E3D}"/>
              </a:ext>
            </a:extLst>
          </p:cNvPr>
          <p:cNvSpPr/>
          <p:nvPr/>
        </p:nvSpPr>
        <p:spPr>
          <a:xfrm>
            <a:off x="7487584" y="4405657"/>
            <a:ext cx="4080525" cy="704277"/>
          </a:xfrm>
          <a:prstGeom prst="rect">
            <a:avLst/>
          </a:prstGeom>
          <a:solidFill>
            <a:srgbClr val="E3E6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Gruppe 10 / 11 / 12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D1BF377-0E8A-499E-82D3-E3835EF9E877}"/>
              </a:ext>
            </a:extLst>
          </p:cNvPr>
          <p:cNvSpPr/>
          <p:nvPr/>
        </p:nvSpPr>
        <p:spPr>
          <a:xfrm>
            <a:off x="7487583" y="5354344"/>
            <a:ext cx="4080525" cy="704277"/>
          </a:xfrm>
          <a:prstGeom prst="rect">
            <a:avLst/>
          </a:prstGeom>
          <a:solidFill>
            <a:srgbClr val="E1D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Gruppe 13 / 14 / 15</a:t>
            </a:r>
          </a:p>
        </p:txBody>
      </p:sp>
    </p:spTree>
    <p:extLst>
      <p:ext uri="{BB962C8B-B14F-4D97-AF65-F5344CB8AC3E}">
        <p14:creationId xmlns:p14="http://schemas.microsoft.com/office/powerpoint/2010/main" val="358335740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D4E012-C595-8537-818C-66A57B951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ppenzusammensetzung</a:t>
            </a:r>
            <a:br>
              <a:rPr lang="de-DE" dirty="0"/>
            </a:br>
            <a:r>
              <a:rPr lang="de-DE" sz="2000" dirty="0"/>
              <a:t>(4-5 Personen pro Gruppe)</a:t>
            </a:r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96F616B8-92F8-265C-82D4-57A49787ACD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41367055"/>
              </p:ext>
            </p:extLst>
          </p:nvPr>
        </p:nvGraphicFramePr>
        <p:xfrm>
          <a:off x="623888" y="1705183"/>
          <a:ext cx="9882568" cy="441960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122442">
                  <a:extLst>
                    <a:ext uri="{9D8B030D-6E8A-4147-A177-3AD203B41FA5}">
                      <a16:colId xmlns:a16="http://schemas.microsoft.com/office/drawing/2014/main" val="1526449729"/>
                    </a:ext>
                  </a:extLst>
                </a:gridCol>
                <a:gridCol w="7760126">
                  <a:extLst>
                    <a:ext uri="{9D8B030D-6E8A-4147-A177-3AD203B41FA5}">
                      <a16:colId xmlns:a16="http://schemas.microsoft.com/office/drawing/2014/main" val="3705444143"/>
                    </a:ext>
                  </a:extLst>
                </a:gridCol>
              </a:tblGrid>
              <a:tr h="278793">
                <a:tc>
                  <a:txBody>
                    <a:bodyPr/>
                    <a:lstStyle/>
                    <a:p>
                      <a:r>
                        <a:rPr lang="de-DE" sz="1400" dirty="0"/>
                        <a:t>Grup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Mitglie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2383685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1 (Pizza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4729471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2 (Pizza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6621116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3 (Pizza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6647271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4 (Don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5808926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5 (Don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4196356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6 (Don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3511675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7 (Pomm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3586199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8 (Pomm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805631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9 (Pomm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8647935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10 (Melon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5298889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11 (Melon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3648819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12 (Melon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771404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13 (Apfe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8838754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14 (Apfe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060434"/>
                  </a:ext>
                </a:extLst>
              </a:tr>
              <a:tr h="268708">
                <a:tc>
                  <a:txBody>
                    <a:bodyPr/>
                    <a:lstStyle/>
                    <a:p>
                      <a:r>
                        <a:rPr lang="de-DE" sz="1200" dirty="0"/>
                        <a:t>Gruppe 15 (Apfe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6846703"/>
                  </a:ext>
                </a:extLst>
              </a:tr>
            </a:tbl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8168069-AC7F-17CF-542A-B65A00A7E1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7C45BA-FD39-9F92-038D-13F7FDB86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2FE59D-7BC9-126C-D7F7-23DD80ADC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02322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469E3FE-98CD-4882-8108-C2231CB12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94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C7BA182-EAB4-46B4-BD66-B4553C45C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griffsbestimmung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6F8098-73F7-4DF5-98D5-05126E37FE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1124729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B69332F-3E3A-447E-B968-6EFD28068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2857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AD1728A-0DD4-4D1D-A6F7-D52F2F1BB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48DAC71E-525A-485A-B3A1-EEC652FDA2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745681"/>
              </p:ext>
            </p:extLst>
          </p:nvPr>
        </p:nvGraphicFramePr>
        <p:xfrm>
          <a:off x="-348712" y="1274296"/>
          <a:ext cx="12540712" cy="57731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25910235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C6C86D0-0113-F21B-BD93-77E47E6C0E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9292C9-7A0D-B9AF-FF41-AC627A22A3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F72DD71E-A995-BD4F-D9E4-B7316E18563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-697699" y="1544248"/>
          <a:ext cx="9190646" cy="45297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A68DAB3-A90A-7354-624C-A5C3E8A7E2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1204307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E7F612-FDCE-C6BB-6051-324FBE2A6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304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A28F48-B752-6A41-D475-D97DBF566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50</a:t>
            </a:fld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7A344B9-11B7-A23E-A1F6-0E0D9C6F7B7E}"/>
              </a:ext>
            </a:extLst>
          </p:cNvPr>
          <p:cNvSpPr/>
          <p:nvPr/>
        </p:nvSpPr>
        <p:spPr>
          <a:xfrm>
            <a:off x="7487586" y="1566733"/>
            <a:ext cx="4080525" cy="704277"/>
          </a:xfrm>
          <a:prstGeom prst="rect">
            <a:avLst/>
          </a:prstGeom>
          <a:solidFill>
            <a:srgbClr val="ECE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Peggy, Annika, Michaela, Robi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E09FE8D-AC86-FC87-52EF-DBBBC038A60D}"/>
              </a:ext>
            </a:extLst>
          </p:cNvPr>
          <p:cNvSpPr/>
          <p:nvPr/>
        </p:nvSpPr>
        <p:spPr>
          <a:xfrm>
            <a:off x="7487586" y="2508283"/>
            <a:ext cx="4080525" cy="704277"/>
          </a:xfrm>
          <a:prstGeom prst="rect">
            <a:avLst/>
          </a:prstGeom>
          <a:solidFill>
            <a:srgbClr val="E4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nnie, Chiara, Jennifer, Cecilia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FAAD9FA-F02F-1233-CE18-BCE8738D0052}"/>
              </a:ext>
            </a:extLst>
          </p:cNvPr>
          <p:cNvSpPr/>
          <p:nvPr/>
        </p:nvSpPr>
        <p:spPr>
          <a:xfrm>
            <a:off x="7487585" y="3456970"/>
            <a:ext cx="4080525" cy="704277"/>
          </a:xfrm>
          <a:prstGeom prst="rect">
            <a:avLst/>
          </a:prstGeom>
          <a:solidFill>
            <a:srgbClr val="DEE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hahnaz, Sandra, Patrick, Stephanie, Katj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103269-1D2A-F83A-93C6-45FC9F611376}"/>
              </a:ext>
            </a:extLst>
          </p:cNvPr>
          <p:cNvSpPr/>
          <p:nvPr/>
        </p:nvSpPr>
        <p:spPr>
          <a:xfrm>
            <a:off x="7487584" y="4405657"/>
            <a:ext cx="4080525" cy="704277"/>
          </a:xfrm>
          <a:prstGeom prst="rect">
            <a:avLst/>
          </a:prstGeom>
          <a:solidFill>
            <a:srgbClr val="E3E6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Andrea, Claudia, Jens, Angelina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3EA6E08-5723-EB5D-00F8-D4A36246585F}"/>
              </a:ext>
            </a:extLst>
          </p:cNvPr>
          <p:cNvSpPr/>
          <p:nvPr/>
        </p:nvSpPr>
        <p:spPr>
          <a:xfrm>
            <a:off x="7487583" y="5354344"/>
            <a:ext cx="4080525" cy="704277"/>
          </a:xfrm>
          <a:prstGeom prst="rect">
            <a:avLst/>
          </a:prstGeom>
          <a:solidFill>
            <a:srgbClr val="E1D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Adriana, Mandy, Marco, Raffaela, Nicol</a:t>
            </a:r>
            <a:r>
              <a:rPr lang="de-DE">
                <a:solidFill>
                  <a:schemeClr val="tx1"/>
                </a:solidFill>
              </a:rPr>
              <a:t>, May-Lin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80649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D62E8C22-A85C-1DD2-D8B9-8AB9309D5C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52B815-04FD-18B4-9231-875F11F9C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E4ECD508-EA53-0516-8BE0-B97D3EFC9E1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-697699" y="1544248"/>
          <a:ext cx="9190646" cy="45297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C745AE6-E82C-8FF3-E63C-B59E47EBAC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1204307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4F0D19-7607-03CD-4058-4556FF3E70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304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D1F8AC-1474-F7F5-C857-72DE60D7D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51</a:t>
            </a:fld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2911555-7B05-182D-62EA-6D01207B7796}"/>
              </a:ext>
            </a:extLst>
          </p:cNvPr>
          <p:cNvSpPr/>
          <p:nvPr/>
        </p:nvSpPr>
        <p:spPr>
          <a:xfrm>
            <a:off x="7487586" y="1566733"/>
            <a:ext cx="4080525" cy="704277"/>
          </a:xfrm>
          <a:prstGeom prst="rect">
            <a:avLst/>
          </a:prstGeom>
          <a:solidFill>
            <a:srgbClr val="ECE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Sümeyya</a:t>
            </a:r>
            <a:r>
              <a:rPr lang="de-DE" dirty="0">
                <a:solidFill>
                  <a:schemeClr val="tx1"/>
                </a:solidFill>
              </a:rPr>
              <a:t>, Katharina, Elisa, Lea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A56E71C-E1CE-0873-95DA-AFCE5545C975}"/>
              </a:ext>
            </a:extLst>
          </p:cNvPr>
          <p:cNvSpPr/>
          <p:nvPr/>
        </p:nvSpPr>
        <p:spPr>
          <a:xfrm>
            <a:off x="7487586" y="2508283"/>
            <a:ext cx="4080525" cy="704277"/>
          </a:xfrm>
          <a:prstGeom prst="rect">
            <a:avLst/>
          </a:prstGeom>
          <a:solidFill>
            <a:srgbClr val="E4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Alexa, Patricia, Monique, Denis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2F51D1C-0DBD-006C-A2DB-14F48719CDA4}"/>
              </a:ext>
            </a:extLst>
          </p:cNvPr>
          <p:cNvSpPr/>
          <p:nvPr/>
        </p:nvSpPr>
        <p:spPr>
          <a:xfrm>
            <a:off x="7487585" y="3456970"/>
            <a:ext cx="4080525" cy="704277"/>
          </a:xfrm>
          <a:prstGeom prst="rect">
            <a:avLst/>
          </a:prstGeom>
          <a:solidFill>
            <a:srgbClr val="DEE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eonie, Annika, Jana, Chantal, Zelih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4455EBE-AE33-21C3-1D1D-EBB222CCEB4A}"/>
              </a:ext>
            </a:extLst>
          </p:cNvPr>
          <p:cNvSpPr/>
          <p:nvPr/>
        </p:nvSpPr>
        <p:spPr>
          <a:xfrm>
            <a:off x="7487584" y="4405657"/>
            <a:ext cx="4080525" cy="704277"/>
          </a:xfrm>
          <a:prstGeom prst="rect">
            <a:avLst/>
          </a:prstGeom>
          <a:solidFill>
            <a:srgbClr val="E3E6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Vincent, Kathri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82098B4-4506-8F1E-A94E-2229E43FF70E}"/>
              </a:ext>
            </a:extLst>
          </p:cNvPr>
          <p:cNvSpPr/>
          <p:nvPr/>
        </p:nvSpPr>
        <p:spPr>
          <a:xfrm>
            <a:off x="7487583" y="5354344"/>
            <a:ext cx="4080525" cy="704277"/>
          </a:xfrm>
          <a:prstGeom prst="rect">
            <a:avLst/>
          </a:prstGeom>
          <a:solidFill>
            <a:srgbClr val="E1D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berhard, Ralph</a:t>
            </a:r>
          </a:p>
        </p:txBody>
      </p:sp>
    </p:spTree>
    <p:extLst>
      <p:ext uri="{BB962C8B-B14F-4D97-AF65-F5344CB8AC3E}">
        <p14:creationId xmlns:p14="http://schemas.microsoft.com/office/powerpoint/2010/main" val="110691682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6D9A48-D530-4B23-864B-0BC4FECF5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004BF88E-0605-40DD-84E2-CFB3CD86553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-697699" y="1544248"/>
          <a:ext cx="9190646" cy="45297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5FF7F7D-4C84-48A3-8733-EAC4205513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1204307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A3515B6-CEAE-4C55-88B7-FE3CA0ECC7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304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FAB0EA-7C65-42CD-BC7D-9364882AC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52</a:t>
            </a:fld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FCB3114-32A9-4A47-A17D-81347BC7E1EF}"/>
              </a:ext>
            </a:extLst>
          </p:cNvPr>
          <p:cNvSpPr/>
          <p:nvPr/>
        </p:nvSpPr>
        <p:spPr>
          <a:xfrm>
            <a:off x="7487586" y="1566733"/>
            <a:ext cx="4080525" cy="704277"/>
          </a:xfrm>
          <a:prstGeom prst="rect">
            <a:avLst/>
          </a:prstGeom>
          <a:solidFill>
            <a:srgbClr val="ECE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nna, Shelby, Marcel, Maria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E5CA598-97C9-41DB-9EA7-C2B65A0F9ED7}"/>
              </a:ext>
            </a:extLst>
          </p:cNvPr>
          <p:cNvSpPr/>
          <p:nvPr/>
        </p:nvSpPr>
        <p:spPr>
          <a:xfrm>
            <a:off x="7487586" y="2508283"/>
            <a:ext cx="4080525" cy="704277"/>
          </a:xfrm>
          <a:prstGeom prst="rect">
            <a:avLst/>
          </a:prstGeom>
          <a:solidFill>
            <a:srgbClr val="E4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Franziska, Christoph, Emma, Danma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61FDFBB-EB6A-42B5-B382-9DFE0B133440}"/>
              </a:ext>
            </a:extLst>
          </p:cNvPr>
          <p:cNvSpPr/>
          <p:nvPr/>
        </p:nvSpPr>
        <p:spPr>
          <a:xfrm>
            <a:off x="7487585" y="3456970"/>
            <a:ext cx="4080525" cy="704277"/>
          </a:xfrm>
          <a:prstGeom prst="rect">
            <a:avLst/>
          </a:prstGeom>
          <a:solidFill>
            <a:srgbClr val="DEE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Theres, Imke, Jeanett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B062462-D1EC-46F8-A9E1-0DF856C09E3D}"/>
              </a:ext>
            </a:extLst>
          </p:cNvPr>
          <p:cNvSpPr/>
          <p:nvPr/>
        </p:nvSpPr>
        <p:spPr>
          <a:xfrm>
            <a:off x="7487584" y="4405657"/>
            <a:ext cx="4080525" cy="704277"/>
          </a:xfrm>
          <a:prstGeom prst="rect">
            <a:avLst/>
          </a:prstGeom>
          <a:solidFill>
            <a:srgbClr val="E3E6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ophie, Katrin, Sarah, Marina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D1BF377-0E8A-499E-82D3-E3835EF9E877}"/>
              </a:ext>
            </a:extLst>
          </p:cNvPr>
          <p:cNvSpPr/>
          <p:nvPr/>
        </p:nvSpPr>
        <p:spPr>
          <a:xfrm>
            <a:off x="7487583" y="5354344"/>
            <a:ext cx="4080525" cy="704277"/>
          </a:xfrm>
          <a:prstGeom prst="rect">
            <a:avLst/>
          </a:prstGeom>
          <a:solidFill>
            <a:srgbClr val="E1D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Natalia, Anna, Anna-Lena</a:t>
            </a:r>
          </a:p>
        </p:txBody>
      </p:sp>
    </p:spTree>
    <p:extLst>
      <p:ext uri="{BB962C8B-B14F-4D97-AF65-F5344CB8AC3E}">
        <p14:creationId xmlns:p14="http://schemas.microsoft.com/office/powerpoint/2010/main" val="254235912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A3BA58-8D65-F7E8-8874-850694174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7F7D86-5834-83B5-2153-D6D48AD99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D66DFFDE-B52B-FE13-894E-05E4E76DE2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2B38FC-4507-8CAE-0BB3-BD85833DB78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DDD6A4F-57F3-07A9-78BC-7B0C53268C1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32704DE-149B-4B1C-0538-0377FED082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53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1439B2-B262-0DCD-A00D-A8FD0B3C95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FDB03D53-FF3D-CD6E-9E60-0479DA41568F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gemeinsamer Start WB | April 2026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5043377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EB95CC-8866-CDA6-E80F-700F7FADFC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076CB9-AF92-F847-47D9-C0052DDBD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5FDB1E9F-2B69-65BA-B061-CB7AEF4750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3128CC-8908-3A3A-123A-BAD74DD0195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251BBD0-4F8B-EE77-F23F-EED7A8C5148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DAB925-912E-DCD6-EA05-2CE1C0DE67A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54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32565CE-64A4-0CBE-49EC-425D9C3858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B084A73B-1B7D-E7CB-49E2-2AAD8EF1B7C6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gemeinsamer Start WB | April 2026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18663602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B46B84-8B58-59B7-481F-D74C807AE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608D78-095D-59DC-3F63-B49C116EC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AE13E4F-22BC-AF15-4019-51B931C0AE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33E4B2-C1E1-1D6E-2B88-AAC15C8146A2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3A467C2-B855-91D7-263F-8F831A90C9C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672ED5-B315-98E6-705B-8A15B4C7396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55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A708A2-470E-1EBB-DB7A-F293BB8B91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33D9822D-A499-F66E-D0C0-BF2405D844A5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gemeinsamer Start WB | April 2026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32298944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BF9FA7-F5ED-C36C-A5CE-D862F3F809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CAC532-D889-0C70-37BA-7F0B9D355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14F01CF1-7958-0174-27EF-776F3D7E68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E1F0A85-72BF-8003-750A-CD8B115B180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59EC3EF-B16D-49E1-861F-DC6F245E78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8E317-8613-1090-D760-1B3838A344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56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FB1E2EC-0FE0-9DF8-6444-162C05D88B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6D8B8894-964D-FEB7-48CB-6C33D8043667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gemeinsamer Start WB | April 2026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00912868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68A929-DE51-F16E-6D79-5C6B5D1438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CBB18B-5EA3-46F7-0E92-74206A39E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2913EB54-623A-6B56-4891-5864604845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0228A54-A202-4920-BB71-71EA12B9391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25D4ACC-CC58-0132-9E3D-D908CDE0E85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C327DE-6BE1-EA1C-8764-8FF72CF2C71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57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ADD55C7-E5F1-50A8-8BAE-C7FA5AF0D1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D7142F38-3553-5048-55BC-687444B32939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gemeinsamer Start WB | April 2026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48915247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2F5575-8C6E-A07F-9AB7-54A3CFFBF1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A15720-3073-11BD-1113-4B665AB62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74B764E-79EC-0748-B3CA-17D2624F81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34ED6A-A935-0D60-79A4-9D7DC1DE43A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6BE6A2-4D12-298C-485A-8A461F03D05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D14036-D5F5-41D1-CF9F-C83F59B868C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58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352460A-C761-7FE5-9E35-1EBA78C2E7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AD3AB499-5285-0CD8-2D99-E4A47116A5BA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gemeinsamer Start WB | April 2026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01721733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6341F3-9359-5B87-5B6E-6762BAE7D6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FEBB44-9CC5-8073-BDA5-4E62DC4F8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8BFE822C-99B9-6A90-0BB2-3F034EB679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52CB35-3510-7303-C045-F31BF880766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054A8A-DA4C-3431-11D4-64AF507A04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86F719C-7A3D-71C6-80E1-C8C82E66E65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59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4D3EF21-3512-7407-CFDD-3DC913938E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59AE431-1A7E-8128-5DFE-091B2BCA8C9D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gemeinsamer Start WB | April 2026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081934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D63317-8060-4E23-A7B0-D83447AB4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griffsbestimmung</a:t>
            </a:r>
            <a:br>
              <a:rPr lang="de-DE" dirty="0"/>
            </a:br>
            <a:r>
              <a:rPr lang="de-DE" dirty="0"/>
              <a:t>- </a:t>
            </a:r>
            <a:r>
              <a:rPr lang="de-DE" dirty="0" err="1"/>
              <a:t>Praxisanleiter:i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F35205-7A46-4A52-B5AF-CEE663C686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35228" y="3922320"/>
            <a:ext cx="3384833" cy="2092271"/>
          </a:xfrm>
          <a:prstGeom prst="rightArrowCallout">
            <a:avLst>
              <a:gd name="adj1" fmla="val 18047"/>
              <a:gd name="adj2" fmla="val 25000"/>
              <a:gd name="adj3" fmla="val 19090"/>
              <a:gd name="adj4" fmla="val 82827"/>
            </a:avLst>
          </a:prstGeom>
          <a:ln w="19050">
            <a:solidFill>
              <a:schemeClr val="accent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de-DE" sz="1600" dirty="0" err="1"/>
              <a:t>Berufsgruppenangehörige:r</a:t>
            </a:r>
            <a:r>
              <a:rPr lang="de-DE" sz="1600" dirty="0"/>
              <a:t>, die/der Auszubildende, Studierende oder neue Mitarbeitende einarbeitet und/oder in berufsgruppenspezifischen oder übergreifenden Tätigkeiten anleitet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60249D8-C68A-46AE-A7FE-A6AB1EF2CC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76756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07A4B9B-3963-4A2D-AC87-204DDBDC9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5"/>
            <a:ext cx="10944224" cy="12857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4401E6-5F04-4022-B45E-A2A5D5DCA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08E30B8-9734-4767-A23F-31F6B46A3D73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Denzel, S. (2019), S. 14 f.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C20C937-AC39-4013-9BD9-3CB8FB7CFA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5939334"/>
              </p:ext>
            </p:extLst>
          </p:nvPr>
        </p:nvGraphicFramePr>
        <p:xfrm>
          <a:off x="3822054" y="543108"/>
          <a:ext cx="6104610" cy="5880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Legende: mit gebogener Linie mit Rahmen und Akzentuierungsbalken 8">
            <a:extLst>
              <a:ext uri="{FF2B5EF4-FFF2-40B4-BE49-F238E27FC236}">
                <a16:creationId xmlns:a16="http://schemas.microsoft.com/office/drawing/2014/main" id="{AB8DF13F-96A8-40D1-807F-9EBEF9601049}"/>
              </a:ext>
            </a:extLst>
          </p:cNvPr>
          <p:cNvSpPr/>
          <p:nvPr/>
        </p:nvSpPr>
        <p:spPr>
          <a:xfrm>
            <a:off x="9056076" y="4325815"/>
            <a:ext cx="2672862" cy="1055078"/>
          </a:xfrm>
          <a:prstGeom prst="accentBorderCallout2">
            <a:avLst>
              <a:gd name="adj1" fmla="val 44267"/>
              <a:gd name="adj2" fmla="val -7675"/>
              <a:gd name="adj3" fmla="val 44267"/>
              <a:gd name="adj4" fmla="val -19628"/>
              <a:gd name="adj5" fmla="val 120202"/>
              <a:gd name="adj6" fmla="val -55219"/>
            </a:avLst>
          </a:prstGeom>
          <a:solidFill>
            <a:srgbClr val="E1D5D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Berufspädagogische Zusatzqualifikation zum/zur </a:t>
            </a:r>
            <a:r>
              <a:rPr lang="de-DE" sz="1600" b="1" dirty="0" err="1">
                <a:solidFill>
                  <a:schemeClr val="tx1"/>
                </a:solidFill>
              </a:rPr>
              <a:t>Praxisanleiter:in</a:t>
            </a:r>
            <a:endParaRPr lang="de-DE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146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130AD5C4-9FF5-4754-8F6E-E247F4406C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>
                                            <p:graphicEl>
                                              <a:dgm id="{130AD5C4-9FF5-4754-8F6E-E247F4406CF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8C322DA1-CD7F-4FCC-B95E-C3535A41AB1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8">
                                            <p:graphicEl>
                                              <a:dgm id="{8C322DA1-CD7F-4FCC-B95E-C3535A41AB1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A7E8A44B-D5DF-4876-A749-A437EFA68F4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8">
                                            <p:graphicEl>
                                              <a:dgm id="{A7E8A44B-D5DF-4876-A749-A437EFA68F4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513768A9-2761-4C55-8938-8C86B5C9A01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>
                                            <p:graphicEl>
                                              <a:dgm id="{513768A9-2761-4C55-8938-8C86B5C9A01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B4817E8E-3763-4BDC-BD3F-6C266597D0A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8">
                                            <p:graphicEl>
                                              <a:dgm id="{B4817E8E-3763-4BDC-BD3F-6C266597D0A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8C7B2CE0-10B0-42D1-8DDD-69DD954DEA4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8">
                                            <p:graphicEl>
                                              <a:dgm id="{8C7B2CE0-10B0-42D1-8DDD-69DD954DEA4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40332E35-84E7-4D29-A200-A2320DDBB3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8">
                                            <p:graphicEl>
                                              <a:dgm id="{40332E35-84E7-4D29-A200-A2320DDBB3A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AAF74216-14D1-453C-AB16-D58C6FD1794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8">
                                            <p:graphicEl>
                                              <a:dgm id="{AAF74216-14D1-453C-AB16-D58C6FD1794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animBg="1"/>
      <p:bldGraphic spid="8" grpId="0" uiExpand="1">
        <p:bldSub>
          <a:bldDgm bld="one"/>
        </p:bldSub>
      </p:bldGraphic>
      <p:bldP spid="9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60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DA7D2D1A-AB90-4790-8EF8-7ADDAA7E054B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FLP 26/27 | Januar 2026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pic>
        <p:nvPicPr>
          <p:cNvPr id="1026" name="88A213A8-97A1-4D50-861A-D0E3A62C46F8" descr="B97F8F4E-051C-431D-9B03-9DC940F4E199.JPG">
            <a:extLst>
              <a:ext uri="{FF2B5EF4-FFF2-40B4-BE49-F238E27FC236}">
                <a16:creationId xmlns:a16="http://schemas.microsoft.com/office/drawing/2014/main" id="{D374B3F9-1173-579C-9C0B-D84F639D7D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91" t="10872" r="5307" b="3863"/>
          <a:stretch>
            <a:fillRect/>
          </a:stretch>
        </p:blipFill>
        <p:spPr bwMode="auto">
          <a:xfrm>
            <a:off x="7214461" y="0"/>
            <a:ext cx="4977539" cy="6852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C7E356C9-E3D8-4A53-BB73-CF592DC8C303" descr="F70CC4FE-C294-4DAE-ADC7-01E3931E17DB.JPG">
            <a:extLst>
              <a:ext uri="{FF2B5EF4-FFF2-40B4-BE49-F238E27FC236}">
                <a16:creationId xmlns:a16="http://schemas.microsoft.com/office/drawing/2014/main" id="{04196E39-A9AB-8AB4-8F0B-C22A26C3FE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60" t="12798" b="4245"/>
          <a:stretch>
            <a:fillRect/>
          </a:stretch>
        </p:blipFill>
        <p:spPr bwMode="auto">
          <a:xfrm>
            <a:off x="0" y="1728665"/>
            <a:ext cx="7067289" cy="4746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919895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B2592AFE-4989-AB11-476F-39BF755579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05E225-C087-C556-C5A1-6B73A5042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8D6BDA4B-7CB6-30A7-C591-73FEA856F2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8E42A7-6598-A9A1-DF79-B97DF1370D7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23350C0-D776-DC9B-C3EA-EC84887184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F91F5-106C-E96B-C63A-4744D962EE1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61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D36652-5605-DE4D-B5F1-CC698EB986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A6FC23C2-E6F8-8614-9156-DC6F4ACC63F8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FLP 26/27 | Januar 2026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pic>
        <p:nvPicPr>
          <p:cNvPr id="2050" name="00375306-A04D-46A7-B374-0CD0E98ED4D0" descr="CEB37F31-7A06-4CE2-A118-1C101F5C112D.JPG">
            <a:extLst>
              <a:ext uri="{FF2B5EF4-FFF2-40B4-BE49-F238E27FC236}">
                <a16:creationId xmlns:a16="http://schemas.microsoft.com/office/drawing/2014/main" id="{867F60E4-15BE-FD0D-D555-7BF2718D5F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1" t="10867" r="12909" b="2051"/>
          <a:stretch>
            <a:fillRect/>
          </a:stretch>
        </p:blipFill>
        <p:spPr bwMode="auto">
          <a:xfrm>
            <a:off x="7516679" y="-1"/>
            <a:ext cx="4675322" cy="6853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588C57B1-C332-4F36-B8B3-9857A4576AED" descr="1EB3B778-1279-4D7C-880C-79EC259C651E.JPG">
            <a:extLst>
              <a:ext uri="{FF2B5EF4-FFF2-40B4-BE49-F238E27FC236}">
                <a16:creationId xmlns:a16="http://schemas.microsoft.com/office/drawing/2014/main" id="{EDA2CDAD-4BB8-D2B8-9530-6F5A3D8124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5" r="10811" b="8364"/>
          <a:stretch>
            <a:fillRect/>
          </a:stretch>
        </p:blipFill>
        <p:spPr bwMode="auto">
          <a:xfrm>
            <a:off x="-2" y="1705183"/>
            <a:ext cx="7425549" cy="5148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668846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BBAF5036-2678-7F6C-B2F8-1A94363486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6F3DA9-1372-37AC-A858-A5F96B3BD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C31B7F9-4448-E2E9-94BB-379FB97811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7F1E4D3-6994-ED47-7F8B-D1E5638CD40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1CB109-5280-33DB-1032-F913684DF05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5EF3C02-5C86-7BDC-AD37-91F285181F7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62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37E6B8-E409-F64E-3A42-24BCD1EBF7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AED319C8-E012-3279-F591-D59BA6CA2C7F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FLP 26/27 | Januar 2026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pic>
        <p:nvPicPr>
          <p:cNvPr id="3074" name="33779033-AB2D-41BB-9498-E2476CB367E7" descr="54083C67-D1EF-4D67-9948-C3375606C8BC.JPG">
            <a:extLst>
              <a:ext uri="{FF2B5EF4-FFF2-40B4-BE49-F238E27FC236}">
                <a16:creationId xmlns:a16="http://schemas.microsoft.com/office/drawing/2014/main" id="{FC8DC7EE-8CE3-BC92-0F3F-DA92FF1904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5" t="1641" r="8572" b="11296"/>
          <a:stretch>
            <a:fillRect/>
          </a:stretch>
        </p:blipFill>
        <p:spPr bwMode="auto">
          <a:xfrm>
            <a:off x="6757259" y="-23272"/>
            <a:ext cx="4974956" cy="688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578462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7F0A02C-6911-8DA9-833A-3D9D7A9AA8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1C44FB-DDCE-7F1A-692B-A4B337090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0C8DC69D-AEC7-C8C3-2363-A4BBD1208C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8FCBE6B-0426-1AD1-13CB-66575C48229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EB57B9-B5BC-B38E-CAA9-B1CB62D588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B09436-5BE2-4B05-80D7-8A2B10CF18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63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1DB5B3-4AAD-4A70-064E-DF569D6169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4D7B120-5AEA-F2E1-ED8D-6A150FB87FD3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PA H25 | September 2025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pic>
        <p:nvPicPr>
          <p:cNvPr id="234498" name="FE4FF693-9146-40AE-932D-1A64906443FE" descr="IMG_8670.jpg">
            <a:extLst>
              <a:ext uri="{FF2B5EF4-FFF2-40B4-BE49-F238E27FC236}">
                <a16:creationId xmlns:a16="http://schemas.microsoft.com/office/drawing/2014/main" id="{663826A5-C31B-FDC2-07E8-00B8C5A035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94" t="15050" r="13750" b="15217"/>
          <a:stretch/>
        </p:blipFill>
        <p:spPr bwMode="auto">
          <a:xfrm rot="5400000">
            <a:off x="6381740" y="1085861"/>
            <a:ext cx="6934220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4500" name="19D88C9B-38FE-48D9-BC4F-D23F90224705" descr="IMG_8672.jpg">
            <a:extLst>
              <a:ext uri="{FF2B5EF4-FFF2-40B4-BE49-F238E27FC236}">
                <a16:creationId xmlns:a16="http://schemas.microsoft.com/office/drawing/2014/main" id="{845CD51D-6797-8349-7083-F70612AED0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15" t="9980" r="3961" b="14332"/>
          <a:stretch/>
        </p:blipFill>
        <p:spPr bwMode="auto">
          <a:xfrm>
            <a:off x="280196" y="1687519"/>
            <a:ext cx="7199311" cy="5170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197214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64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DA7D2D1A-AB90-4790-8EF8-7ADDAA7E054B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PA H25 | September 2025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pic>
        <p:nvPicPr>
          <p:cNvPr id="11" name="40FE48A4-D949-47BC-BBBE-BD358317FB57" descr="IMG_8671.jpg">
            <a:extLst>
              <a:ext uri="{FF2B5EF4-FFF2-40B4-BE49-F238E27FC236}">
                <a16:creationId xmlns:a16="http://schemas.microsoft.com/office/drawing/2014/main" id="{6979C437-C830-457A-ADAA-E7325E37AA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42" t="15614" r="12836" b="11641"/>
          <a:stretch/>
        </p:blipFill>
        <p:spPr bwMode="auto">
          <a:xfrm rot="5400000">
            <a:off x="6271433" y="910299"/>
            <a:ext cx="6858117" cy="5037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22" name="82CBF18E-D804-4B1A-BEFD-1FB803CD14B2" descr="IMG_8673.jpg">
            <a:extLst>
              <a:ext uri="{FF2B5EF4-FFF2-40B4-BE49-F238E27FC236}">
                <a16:creationId xmlns:a16="http://schemas.microsoft.com/office/drawing/2014/main" id="{71541956-425A-4B32-8B08-DEE739E4DC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21" t="16520" r="15631" b="10699"/>
          <a:stretch/>
        </p:blipFill>
        <p:spPr bwMode="auto">
          <a:xfrm>
            <a:off x="221274" y="1802387"/>
            <a:ext cx="6955393" cy="50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087894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65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DA7D2D1A-AB90-4790-8EF8-7ADDAA7E054B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PA H25 | September 2025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pic>
        <p:nvPicPr>
          <p:cNvPr id="236546" name="E56B5D72-D101-4DC7-AD76-5C7DA8232F3E" descr="IMG_8674.jpg">
            <a:extLst>
              <a:ext uri="{FF2B5EF4-FFF2-40B4-BE49-F238E27FC236}">
                <a16:creationId xmlns:a16="http://schemas.microsoft.com/office/drawing/2014/main" id="{BABB4B88-31A3-49D9-9A35-A4AFB60B7B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93" t="5085" r="16217" b="19534"/>
          <a:stretch/>
        </p:blipFill>
        <p:spPr bwMode="auto">
          <a:xfrm>
            <a:off x="5767387" y="17000"/>
            <a:ext cx="4924425" cy="68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731466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66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DA7D2D1A-AB90-4790-8EF8-7ADDAA7E054B}"/>
              </a:ext>
            </a:extLst>
          </p:cNvPr>
          <p:cNvSpPr txBox="1">
            <a:spLocks/>
          </p:cNvSpPr>
          <p:nvPr/>
        </p:nvSpPr>
        <p:spPr bwMode="gray">
          <a:xfrm>
            <a:off x="623888" y="1282455"/>
            <a:ext cx="7351712" cy="474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dirty="0">
                <a:latin typeface="+mj-lt"/>
              </a:rPr>
              <a:t>Ergebnissicherung | PA F25 | Februar 2025</a:t>
            </a: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pic>
        <p:nvPicPr>
          <p:cNvPr id="230402" name="B146C780-AB7B-4015-8E32-975CF66B52DB" descr="IMG_1671.jpg">
            <a:extLst>
              <a:ext uri="{FF2B5EF4-FFF2-40B4-BE49-F238E27FC236}">
                <a16:creationId xmlns:a16="http://schemas.microsoft.com/office/drawing/2014/main" id="{3BB106E8-7FC6-4359-B83B-0BB656E212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02" t="4740" r="10938" b="9839"/>
          <a:stretch/>
        </p:blipFill>
        <p:spPr bwMode="auto">
          <a:xfrm rot="5400000">
            <a:off x="6169028" y="748182"/>
            <a:ext cx="6684310" cy="5361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0403" name="2FEE691C-6038-4BF8-A7B5-FA6786BD6E72" descr="IMG_1675.jpg">
            <a:extLst>
              <a:ext uri="{FF2B5EF4-FFF2-40B4-BE49-F238E27FC236}">
                <a16:creationId xmlns:a16="http://schemas.microsoft.com/office/drawing/2014/main" id="{CDA4520E-8DD6-43BD-A33C-BB5ED35D45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81" t="19095" r="22527" b="18290"/>
          <a:stretch/>
        </p:blipFill>
        <p:spPr bwMode="auto">
          <a:xfrm rot="5400000">
            <a:off x="1901953" y="1995144"/>
            <a:ext cx="5226683" cy="4325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939621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67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31426" name="116D6090-64EE-4684-A8B9-6692903B675A" descr="IMG_1676.jpg">
            <a:extLst>
              <a:ext uri="{FF2B5EF4-FFF2-40B4-BE49-F238E27FC236}">
                <a16:creationId xmlns:a16="http://schemas.microsoft.com/office/drawing/2014/main" id="{6B3C896A-D6CA-4EBC-9279-CB72764F441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46" t="12219" r="13686" b="23843"/>
          <a:stretch/>
        </p:blipFill>
        <p:spPr bwMode="auto">
          <a:xfrm rot="5400000">
            <a:off x="4548971" y="933762"/>
            <a:ext cx="6548458" cy="4990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106123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68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32450" name="989F2FFF-01A6-44C4-AF08-0FA1979A363A" descr="IMG_1677.jpg">
            <a:extLst>
              <a:ext uri="{FF2B5EF4-FFF2-40B4-BE49-F238E27FC236}">
                <a16:creationId xmlns:a16="http://schemas.microsoft.com/office/drawing/2014/main" id="{757B7133-9A67-4F34-8B76-FD03C76662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91" t="13202" r="8821" b="8713"/>
          <a:stretch/>
        </p:blipFill>
        <p:spPr bwMode="auto">
          <a:xfrm rot="5400000">
            <a:off x="-631313" y="918744"/>
            <a:ext cx="6698530" cy="502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2451" name="D6422B53-E471-47E0-BF3F-2A0E2F7001CD" descr="IMG_1678.jpg">
            <a:extLst>
              <a:ext uri="{FF2B5EF4-FFF2-40B4-BE49-F238E27FC236}">
                <a16:creationId xmlns:a16="http://schemas.microsoft.com/office/drawing/2014/main" id="{31B3B46A-1F05-4926-937A-3609C159FB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24" t="14579" r="17962" b="7937"/>
          <a:stretch/>
        </p:blipFill>
        <p:spPr bwMode="auto">
          <a:xfrm rot="5400000">
            <a:off x="4905732" y="580500"/>
            <a:ext cx="6700997" cy="5699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613682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69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33475" name="851B0566-E34E-42AE-8421-58369F75F8B3" descr="IMG_1673.jpg">
            <a:extLst>
              <a:ext uri="{FF2B5EF4-FFF2-40B4-BE49-F238E27FC236}">
                <a16:creationId xmlns:a16="http://schemas.microsoft.com/office/drawing/2014/main" id="{230D4825-BBED-4856-8D24-7312F8B8DF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49" t="9902" r="11734" b="16469"/>
          <a:stretch/>
        </p:blipFill>
        <p:spPr bwMode="auto">
          <a:xfrm rot="5400000">
            <a:off x="-607495" y="1032028"/>
            <a:ext cx="6577101" cy="4793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3476" name="BDF29B2F-5893-4E1D-9450-69664C1947F1" descr="IMG_1674.jpg">
            <a:extLst>
              <a:ext uri="{FF2B5EF4-FFF2-40B4-BE49-F238E27FC236}">
                <a16:creationId xmlns:a16="http://schemas.microsoft.com/office/drawing/2014/main" id="{E56FA088-348D-47F4-965E-52C1A49F53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2" t="13167" r="17960" b="15943"/>
          <a:stretch/>
        </p:blipFill>
        <p:spPr bwMode="auto">
          <a:xfrm rot="5400000">
            <a:off x="4505314" y="880380"/>
            <a:ext cx="6545372" cy="5128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6586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D63317-8060-4E23-A7B0-D83447AB4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griffsbestimmung – Praxisanleit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60249D8-C68A-46AE-A7FE-A6AB1EF2CC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76756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07A4B9B-3963-4A2D-AC87-204DDBDC9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5"/>
            <a:ext cx="10944224" cy="12857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4401E6-5F04-4022-B45E-A2A5D5DCA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08E30B8-9734-4767-A23F-31F6B46A3D73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Eigene Darstellung in Anlehnung an Klein, Z./Peters, M./Garcia González, D./Dauer, B. (2021), S. 15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43FCA61-DDD0-43B5-BBBD-CC345FE4A4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5472112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Verzahnung der geplanten und situativen Praxisanleitung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Geplante Praxisanleitung:</a:t>
            </a:r>
          </a:p>
          <a:p>
            <a:r>
              <a:rPr lang="de-DE" sz="1600" dirty="0"/>
              <a:t>Langfristig, im Dienstplan geplant</a:t>
            </a:r>
          </a:p>
          <a:p>
            <a:r>
              <a:rPr lang="de-DE" sz="1600" dirty="0"/>
              <a:t>Durchführung sowie Dokumentation</a:t>
            </a:r>
          </a:p>
          <a:p>
            <a:r>
              <a:rPr lang="de-DE" sz="1600" dirty="0"/>
              <a:t>Gespräche mit Lernenden</a:t>
            </a:r>
          </a:p>
          <a:p>
            <a:r>
              <a:rPr lang="de-DE" sz="1600" dirty="0"/>
              <a:t>Geplante Inhalte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Situative Praxisanleitung:</a:t>
            </a:r>
          </a:p>
          <a:p>
            <a:r>
              <a:rPr lang="de-DE" sz="1600" dirty="0"/>
              <a:t>Situatives Angebot im praktischen Alltag</a:t>
            </a:r>
          </a:p>
          <a:p>
            <a:r>
              <a:rPr lang="de-DE" sz="1600" dirty="0"/>
              <a:t>Lernstand des Auszubildenden ist Basis</a:t>
            </a:r>
          </a:p>
          <a:p>
            <a:r>
              <a:rPr lang="de-DE" sz="1600" dirty="0"/>
              <a:t>Individuelle Inhalte</a:t>
            </a:r>
          </a:p>
          <a:p>
            <a:endParaRPr lang="de-DE" sz="1600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21D213E-2965-47BC-AB21-43F1FAC8387B}"/>
              </a:ext>
            </a:extLst>
          </p:cNvPr>
          <p:cNvPicPr/>
          <p:nvPr/>
        </p:nvPicPr>
        <p:blipFill rotWithShape="1">
          <a:blip r:embed="rId2"/>
          <a:srcRect l="5212" t="3622" r="1445" b="4183"/>
          <a:stretch/>
        </p:blipFill>
        <p:spPr bwMode="auto">
          <a:xfrm>
            <a:off x="6005146" y="1551109"/>
            <a:ext cx="5934808" cy="432581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649163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70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25282" name="AC11582D-720E-465B-8FD5-2B0496DA62A5" descr="IMG_1772.jpg">
            <a:extLst>
              <a:ext uri="{FF2B5EF4-FFF2-40B4-BE49-F238E27FC236}">
                <a16:creationId xmlns:a16="http://schemas.microsoft.com/office/drawing/2014/main" id="{6B1C6CFC-2302-402C-888B-4E34D1396C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99" t="12047" r="5679" b="7859"/>
          <a:stretch/>
        </p:blipFill>
        <p:spPr bwMode="auto">
          <a:xfrm rot="5400000">
            <a:off x="6314039" y="1041988"/>
            <a:ext cx="6631005" cy="4774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283" name="64E3C7E0-F11F-48BF-9C3F-75590D378F10" descr="IMG_1773.jpg">
            <a:extLst>
              <a:ext uri="{FF2B5EF4-FFF2-40B4-BE49-F238E27FC236}">
                <a16:creationId xmlns:a16="http://schemas.microsoft.com/office/drawing/2014/main" id="{C890D928-6100-4E4C-A73A-1C12070BA1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23" t="5593" r="8964" b="7349"/>
          <a:stretch/>
        </p:blipFill>
        <p:spPr bwMode="auto">
          <a:xfrm>
            <a:off x="575695" y="1341091"/>
            <a:ext cx="6218394" cy="4979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961944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71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26306" name="26AB5701-7E10-4026-92E9-194A08D756E3" descr="IMG_1774.jpg">
            <a:extLst>
              <a:ext uri="{FF2B5EF4-FFF2-40B4-BE49-F238E27FC236}">
                <a16:creationId xmlns:a16="http://schemas.microsoft.com/office/drawing/2014/main" id="{BC89BBE0-812E-4E32-8063-2D235C4AF5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8" t="9270" r="4533" b="12486"/>
          <a:stretch/>
        </p:blipFill>
        <p:spPr bwMode="auto">
          <a:xfrm rot="5400000">
            <a:off x="6220024" y="1118637"/>
            <a:ext cx="6756158" cy="4620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6307" name="D6BF6ECA-0C3C-477E-B1AD-16CA5DB4EF67" descr="IMG_1770.jpg">
            <a:extLst>
              <a:ext uri="{FF2B5EF4-FFF2-40B4-BE49-F238E27FC236}">
                <a16:creationId xmlns:a16="http://schemas.microsoft.com/office/drawing/2014/main" id="{3642D1A4-DE0A-450E-8F7B-CF99FD9392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7" t="10722" r="8435" b="1632"/>
          <a:stretch/>
        </p:blipFill>
        <p:spPr bwMode="auto">
          <a:xfrm>
            <a:off x="392220" y="1484927"/>
            <a:ext cx="6710329" cy="4967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352084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smodel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37253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699786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72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402867-9B76-4ADD-A9C5-349DC8CAA2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27330" name="66920376-D135-465B-84F3-5434D067A64F" descr="IMG_1771.jpg">
            <a:extLst>
              <a:ext uri="{FF2B5EF4-FFF2-40B4-BE49-F238E27FC236}">
                <a16:creationId xmlns:a16="http://schemas.microsoft.com/office/drawing/2014/main" id="{930D91F2-2E09-4D38-ADB1-DBA55ECE24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2" t="5594" r="4748" b="6213"/>
          <a:stretch/>
        </p:blipFill>
        <p:spPr bwMode="auto">
          <a:xfrm rot="5400000">
            <a:off x="5549460" y="956196"/>
            <a:ext cx="6741042" cy="4956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426141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7F7381F4-D06E-47DF-B873-9F53BCF6A6B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6F3123C-2F84-44B4-9050-7959108B0C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1503809"/>
            <a:ext cx="6095999" cy="790983"/>
          </a:xfrm>
          <a:solidFill>
            <a:srgbClr val="C8E4D2"/>
          </a:solidFill>
        </p:spPr>
        <p:txBody>
          <a:bodyPr/>
          <a:lstStyle/>
          <a:p>
            <a:r>
              <a:rPr lang="de-DE" dirty="0"/>
              <a:t>	Praktischer Einsatz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AF4BEE6-1E62-4990-BD48-3DF932E99FDA}"/>
              </a:ext>
            </a:extLst>
          </p:cNvPr>
          <p:cNvSpPr txBox="1"/>
          <p:nvPr/>
        </p:nvSpPr>
        <p:spPr>
          <a:xfrm>
            <a:off x="0" y="6858000"/>
            <a:ext cx="1219199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/>
              <a:t>"</a:t>
            </a:r>
            <a:r>
              <a:rPr lang="de-DE" sz="900">
                <a:hlinkClick r:id="rId3" tooltip="https://www.bundabergnow.com/2021/02/08/new-nurses-join-the-wide-bay-hhs-team/"/>
              </a:rPr>
              <a:t>Dieses Foto</a:t>
            </a:r>
            <a:r>
              <a:rPr lang="de-DE" sz="900"/>
              <a:t>" von Unbekannter Autor ist lizenziert gemäß </a:t>
            </a:r>
            <a:r>
              <a:rPr lang="de-DE" sz="900">
                <a:hlinkClick r:id="rId4" tooltip="https://creativecommons.org/licenses/by/3.0/"/>
              </a:rPr>
              <a:t>CC BY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411511102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stgespräch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34A10584-8E14-4FDE-804C-EE964FCBB385}"/>
              </a:ext>
            </a:extLst>
          </p:cNvPr>
          <p:cNvSpPr/>
          <p:nvPr/>
        </p:nvSpPr>
        <p:spPr>
          <a:xfrm>
            <a:off x="617419" y="2000232"/>
            <a:ext cx="3504075" cy="387669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12E785A-9784-4CB9-8DC2-FB71F6ADE936}"/>
              </a:ext>
            </a:extLst>
          </p:cNvPr>
          <p:cNvSpPr/>
          <p:nvPr/>
        </p:nvSpPr>
        <p:spPr>
          <a:xfrm>
            <a:off x="4251525" y="2000232"/>
            <a:ext cx="3504075" cy="387669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A383FE8E-BD02-48AF-A074-05E956C846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1668" y="2377439"/>
            <a:ext cx="3319200" cy="3499485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Ziele</a:t>
            </a:r>
          </a:p>
          <a:p>
            <a:r>
              <a:rPr lang="de-DE" sz="1600" dirty="0"/>
              <a:t>Schaffen Verbindlichkeit</a:t>
            </a:r>
          </a:p>
          <a:p>
            <a:r>
              <a:rPr lang="de-DE" sz="1600" dirty="0"/>
              <a:t>Stärkung Beziehungsaufbau</a:t>
            </a:r>
          </a:p>
          <a:p>
            <a:r>
              <a:rPr lang="de-DE" sz="1600" dirty="0"/>
              <a:t>Überprüfung des Lernfortschritts</a:t>
            </a:r>
          </a:p>
          <a:p>
            <a:r>
              <a:rPr lang="de-DE" sz="1600" dirty="0"/>
              <a:t>Festlegung von Lernzielen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F9166321-C9AE-44E4-BAE6-D073127A04FA}"/>
              </a:ext>
            </a:extLst>
          </p:cNvPr>
          <p:cNvSpPr/>
          <p:nvPr/>
        </p:nvSpPr>
        <p:spPr>
          <a:xfrm>
            <a:off x="7879164" y="2000232"/>
            <a:ext cx="3504075" cy="387669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A43D141-1D93-41CF-88B4-5EE9AC6F7E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43963" y="2377439"/>
            <a:ext cx="3319200" cy="3499486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Bedingungen</a:t>
            </a:r>
          </a:p>
          <a:p>
            <a:r>
              <a:rPr lang="de-DE" sz="1600" dirty="0"/>
              <a:t>Vor dem Einsatz oder am ersten Tag</a:t>
            </a:r>
          </a:p>
          <a:p>
            <a:r>
              <a:rPr lang="de-DE" sz="1600" dirty="0"/>
              <a:t>Ruhiger Raum</a:t>
            </a:r>
          </a:p>
          <a:p>
            <a:r>
              <a:rPr lang="de-DE" sz="1600" dirty="0"/>
              <a:t>Ruhige Atmosphäre</a:t>
            </a:r>
          </a:p>
          <a:p>
            <a:r>
              <a:rPr lang="de-DE" sz="1600" dirty="0"/>
              <a:t>Einhalten von Gesprächsregeln</a:t>
            </a:r>
          </a:p>
          <a:p>
            <a:r>
              <a:rPr lang="de-DE" sz="1600" dirty="0"/>
              <a:t>Nutzen von Ausbildungsnachweis</a:t>
            </a:r>
          </a:p>
          <a:p>
            <a:r>
              <a:rPr lang="de-DE" sz="1600" dirty="0"/>
              <a:t>Dokumentation der Gesprächsinhalt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783DBDC6-9A49-4C29-9234-C266330AA4B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976259" y="2377438"/>
            <a:ext cx="3319200" cy="3499486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Inhalte</a:t>
            </a:r>
          </a:p>
          <a:p>
            <a:r>
              <a:rPr lang="de-DE" sz="1600" dirty="0"/>
              <a:t>Kennenlernen </a:t>
            </a:r>
            <a:r>
              <a:rPr lang="de-DE" sz="1600" dirty="0" err="1"/>
              <a:t>Auszubildende:r</a:t>
            </a:r>
            <a:endParaRPr lang="de-DE" sz="1600" dirty="0"/>
          </a:p>
          <a:p>
            <a:r>
              <a:rPr lang="de-DE" sz="1600" dirty="0"/>
              <a:t>Kennenlernen Lernstand / Vorerfahrungen</a:t>
            </a:r>
          </a:p>
          <a:p>
            <a:r>
              <a:rPr lang="de-DE" sz="1600" dirty="0"/>
              <a:t>Abfrage von Erwartungen / Wünschen an Einsatz</a:t>
            </a:r>
          </a:p>
          <a:p>
            <a:r>
              <a:rPr lang="de-DE" sz="1600" dirty="0"/>
              <a:t>Festlegung inhaltlicher Schwerpunkte &amp; Aufgaben</a:t>
            </a:r>
          </a:p>
          <a:p>
            <a:r>
              <a:rPr lang="de-DE" sz="1600" dirty="0"/>
              <a:t>Besprechung Rahmenbedingungen des Einsatz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556478" y="6258639"/>
            <a:ext cx="843822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23888" y="623095"/>
            <a:ext cx="10944224" cy="115460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7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ArbeitGestalten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 (Hrsg.) (2021), S. 15</a:t>
            </a:r>
          </a:p>
        </p:txBody>
      </p:sp>
      <p:sp>
        <p:nvSpPr>
          <p:cNvPr id="11" name="Legende: mit gebogener Linie mit Rahmen und Akzentuierungsbalken 10">
            <a:extLst>
              <a:ext uri="{FF2B5EF4-FFF2-40B4-BE49-F238E27FC236}">
                <a16:creationId xmlns:a16="http://schemas.microsoft.com/office/drawing/2014/main" id="{39D5EA04-F7A2-4A69-BB84-DDD0911C6A4C}"/>
              </a:ext>
            </a:extLst>
          </p:cNvPr>
          <p:cNvSpPr/>
          <p:nvPr/>
        </p:nvSpPr>
        <p:spPr>
          <a:xfrm>
            <a:off x="6450988" y="1203368"/>
            <a:ext cx="5117124" cy="606669"/>
          </a:xfrm>
          <a:prstGeom prst="accentBorderCallout2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Alle Gespräche sind Meilensteine</a:t>
            </a:r>
          </a:p>
        </p:txBody>
      </p:sp>
    </p:spTree>
    <p:extLst>
      <p:ext uri="{BB962C8B-B14F-4D97-AF65-F5344CB8AC3E}">
        <p14:creationId xmlns:p14="http://schemas.microsoft.com/office/powerpoint/2010/main" val="3377209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5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0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5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00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00"/>
                            </p:stCondLst>
                            <p:childTnLst>
                              <p:par>
                                <p:cTn id="6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000"/>
                            </p:stCondLst>
                            <p:childTnLst>
                              <p:par>
                                <p:cTn id="6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1500"/>
                            </p:stCondLst>
                            <p:childTnLst>
                              <p:par>
                                <p:cTn id="7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2000"/>
                            </p:stCondLst>
                            <p:childTnLst>
                              <p:par>
                                <p:cTn id="7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2500"/>
                            </p:stCondLst>
                            <p:childTnLst>
                              <p:par>
                                <p:cTn id="8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  <p:bldP spid="9" grpId="0" uiExpand="1" build="p"/>
      <p:bldP spid="10" grpId="0" uiExpand="1" build="p"/>
      <p:bldP spid="11" grpId="0" animBg="1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DF5969A-C130-4862-BEC6-5EC16C71916B}"/>
              </a:ext>
            </a:extLst>
          </p:cNvPr>
          <p:cNvSpPr/>
          <p:nvPr/>
        </p:nvSpPr>
        <p:spPr>
          <a:xfrm>
            <a:off x="623887" y="2002167"/>
            <a:ext cx="3504075" cy="387669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gespräch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220503B8-1340-45E5-9E0F-0B652F3646A4}"/>
              </a:ext>
            </a:extLst>
          </p:cNvPr>
          <p:cNvSpPr/>
          <p:nvPr/>
        </p:nvSpPr>
        <p:spPr>
          <a:xfrm>
            <a:off x="4251525" y="2000232"/>
            <a:ext cx="3504075" cy="387669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A383FE8E-BD02-48AF-A074-05E956C846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8983" y="2370125"/>
            <a:ext cx="3319007" cy="350680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Ziele</a:t>
            </a:r>
          </a:p>
          <a:p>
            <a:r>
              <a:rPr lang="de-DE" sz="1600" dirty="0"/>
              <a:t>Gemeinsame Reflexion des bisherigen Einsatzes</a:t>
            </a:r>
          </a:p>
          <a:p>
            <a:r>
              <a:rPr lang="de-DE" sz="1600" dirty="0"/>
              <a:t>Planung weiterer Lernprozess</a:t>
            </a:r>
          </a:p>
          <a:p>
            <a:r>
              <a:rPr lang="de-DE" sz="1600" dirty="0"/>
              <a:t>Überprüfung des Lernfortschritts</a:t>
            </a:r>
          </a:p>
          <a:p>
            <a:r>
              <a:rPr lang="de-DE" sz="1600" dirty="0"/>
              <a:t>Festlegung von (weiteren) Lernzielen</a:t>
            </a:r>
          </a:p>
          <a:p>
            <a:r>
              <a:rPr lang="de-DE" sz="1600" dirty="0"/>
              <a:t>Erkennen von Befinden des Auszubildend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A43D141-1D93-41CF-88B4-5EE9AC6F7E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43963" y="2370123"/>
            <a:ext cx="3319200" cy="3506801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Bedingungen</a:t>
            </a:r>
          </a:p>
          <a:p>
            <a:r>
              <a:rPr lang="de-DE" sz="1600" dirty="0"/>
              <a:t>Ca. Halbzeit eines Einsatzes</a:t>
            </a:r>
          </a:p>
          <a:p>
            <a:r>
              <a:rPr lang="de-DE" sz="1600" dirty="0"/>
              <a:t>Ruhiger Raum</a:t>
            </a:r>
          </a:p>
          <a:p>
            <a:r>
              <a:rPr lang="de-DE" sz="1600" dirty="0"/>
              <a:t>Ruhige Atmosphäre</a:t>
            </a:r>
          </a:p>
          <a:p>
            <a:r>
              <a:rPr lang="de-DE" sz="1600" dirty="0"/>
              <a:t>Einhalten von Gesprächsregeln</a:t>
            </a:r>
          </a:p>
          <a:p>
            <a:r>
              <a:rPr lang="de-DE" sz="1600" dirty="0"/>
              <a:t>Nutzen von Ausbildungsnachweis</a:t>
            </a:r>
          </a:p>
          <a:p>
            <a:r>
              <a:rPr lang="de-DE" sz="1600" dirty="0"/>
              <a:t>Dokumentation der Gesprächsinhalte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E34076C-7461-4714-803B-298B65E593E8}"/>
              </a:ext>
            </a:extLst>
          </p:cNvPr>
          <p:cNvSpPr/>
          <p:nvPr/>
        </p:nvSpPr>
        <p:spPr>
          <a:xfrm>
            <a:off x="7879164" y="2000232"/>
            <a:ext cx="3504075" cy="387669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783DBDC6-9A49-4C29-9234-C266330AA4B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983574" y="2370122"/>
            <a:ext cx="3319200" cy="3506801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Inhalte</a:t>
            </a:r>
          </a:p>
          <a:p>
            <a:r>
              <a:rPr lang="de-DE" sz="1600" dirty="0"/>
              <a:t>Reflexion Lernprozess</a:t>
            </a:r>
          </a:p>
          <a:p>
            <a:r>
              <a:rPr lang="de-DE" sz="1600" dirty="0"/>
              <a:t>Evaluation Lernstand &amp; Lernaufgaben</a:t>
            </a:r>
          </a:p>
          <a:p>
            <a:r>
              <a:rPr lang="de-DE" sz="1600" dirty="0"/>
              <a:t>Selbsteinschätzung </a:t>
            </a:r>
            <a:r>
              <a:rPr lang="de-DE" sz="1600" dirty="0" err="1"/>
              <a:t>Auszubildende:r</a:t>
            </a:r>
            <a:endParaRPr lang="de-DE" sz="1600" dirty="0"/>
          </a:p>
          <a:p>
            <a:r>
              <a:rPr lang="de-DE" sz="1600" dirty="0"/>
              <a:t>Festlegen von weiteren Vorgehen &amp; Planung des weiteren Einsatzes</a:t>
            </a:r>
          </a:p>
          <a:p>
            <a:r>
              <a:rPr lang="de-DE" sz="1600" dirty="0"/>
              <a:t>Feedback, wenn nicht unmittelbar geschehen</a:t>
            </a:r>
          </a:p>
          <a:p>
            <a:r>
              <a:rPr lang="de-DE" sz="1600" dirty="0"/>
              <a:t>Ggf. Konfliktgespräch / -lös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556478" y="6258639"/>
            <a:ext cx="843822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23888" y="623095"/>
            <a:ext cx="10944224" cy="115460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7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ArbeitGestalten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 (Hrsg.) (2021), S. 16</a:t>
            </a:r>
          </a:p>
        </p:txBody>
      </p:sp>
    </p:spTree>
    <p:extLst>
      <p:ext uri="{BB962C8B-B14F-4D97-AF65-F5344CB8AC3E}">
        <p14:creationId xmlns:p14="http://schemas.microsoft.com/office/powerpoint/2010/main" val="3996596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5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0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5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00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000"/>
                            </p:stCondLst>
                            <p:childTnLst>
                              <p:par>
                                <p:cTn id="6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500"/>
                            </p:stCondLst>
                            <p:childTnLst>
                              <p:par>
                                <p:cTn id="7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000"/>
                            </p:stCondLst>
                            <p:childTnLst>
                              <p:par>
                                <p:cTn id="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2500"/>
                            </p:stCondLst>
                            <p:childTnLst>
                              <p:par>
                                <p:cTn id="7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3000"/>
                            </p:stCondLst>
                            <p:childTnLst>
                              <p:par>
                                <p:cTn id="8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  <p:bldP spid="9" grpId="0" uiExpand="1" build="p"/>
      <p:bldP spid="10" grpId="0" uiExpand="1" build="p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58E75D07-6B01-442B-A8B3-684F2D433668}"/>
              </a:ext>
            </a:extLst>
          </p:cNvPr>
          <p:cNvSpPr/>
          <p:nvPr/>
        </p:nvSpPr>
        <p:spPr>
          <a:xfrm>
            <a:off x="563926" y="2000231"/>
            <a:ext cx="3504075" cy="387669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schlussgespräch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A383FE8E-BD02-48AF-A074-05E956C846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60463" y="2333547"/>
            <a:ext cx="3319200" cy="3543378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Ziele</a:t>
            </a:r>
          </a:p>
          <a:p>
            <a:r>
              <a:rPr lang="de-DE" sz="1600" dirty="0"/>
              <a:t>Rückblick auf Einsatz &amp; Reflexion dessen</a:t>
            </a:r>
          </a:p>
          <a:p>
            <a:r>
              <a:rPr lang="de-DE" sz="1600" dirty="0"/>
              <a:t>Überprüfung des Lernfortschritts</a:t>
            </a:r>
          </a:p>
          <a:p>
            <a:r>
              <a:rPr lang="de-DE" sz="1600" dirty="0"/>
              <a:t>Erkennen von Befinden des Auszubildenden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0A901DAF-B253-4F79-8B34-7743BE85AFD4}"/>
              </a:ext>
            </a:extLst>
          </p:cNvPr>
          <p:cNvSpPr/>
          <p:nvPr/>
        </p:nvSpPr>
        <p:spPr>
          <a:xfrm>
            <a:off x="4251525" y="2000232"/>
            <a:ext cx="3504075" cy="387669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FB87E508-509F-47B8-84A8-AAC0E1DA5075}"/>
              </a:ext>
            </a:extLst>
          </p:cNvPr>
          <p:cNvSpPr/>
          <p:nvPr/>
        </p:nvSpPr>
        <p:spPr>
          <a:xfrm>
            <a:off x="7971600" y="2000230"/>
            <a:ext cx="3504075" cy="387669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A43D141-1D93-41CF-88B4-5EE9AC6F7E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43963" y="2333547"/>
            <a:ext cx="3319200" cy="3543377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Bedingungen</a:t>
            </a:r>
          </a:p>
          <a:p>
            <a:r>
              <a:rPr lang="de-DE" sz="1600" dirty="0"/>
              <a:t>Kurz vor Ende eines Einsatzes</a:t>
            </a:r>
          </a:p>
          <a:p>
            <a:r>
              <a:rPr lang="de-DE" sz="1600" dirty="0"/>
              <a:t>Ruhiger Raum</a:t>
            </a:r>
          </a:p>
          <a:p>
            <a:r>
              <a:rPr lang="de-DE" sz="1600" dirty="0"/>
              <a:t>Ruhige Atmosphäre</a:t>
            </a:r>
          </a:p>
          <a:p>
            <a:r>
              <a:rPr lang="de-DE" sz="1600" dirty="0"/>
              <a:t>Einhalten von Gesprächsregeln</a:t>
            </a:r>
          </a:p>
          <a:p>
            <a:r>
              <a:rPr lang="de-DE" sz="1600" dirty="0"/>
              <a:t>Nutzen von Ausbildungsnachweis</a:t>
            </a:r>
          </a:p>
          <a:p>
            <a:r>
              <a:rPr lang="de-DE" sz="1600" dirty="0"/>
              <a:t>Dokumentation der Gesprächsinhalte</a:t>
            </a:r>
          </a:p>
          <a:p>
            <a:r>
              <a:rPr lang="de-DE" sz="1600" dirty="0"/>
              <a:t>Ggf. Beteiligung von weiteren Mitwirkenden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783DBDC6-9A49-4C29-9234-C266330AA4B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064039" y="2333548"/>
            <a:ext cx="3319200" cy="3543375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Inhalte</a:t>
            </a:r>
          </a:p>
          <a:p>
            <a:r>
              <a:rPr lang="de-DE" sz="1600" dirty="0"/>
              <a:t>Reflexion Lernprozess</a:t>
            </a:r>
          </a:p>
          <a:p>
            <a:r>
              <a:rPr lang="de-DE" sz="1600" dirty="0"/>
              <a:t>Evaluation Lernstand &amp; Lernaufgaben</a:t>
            </a:r>
          </a:p>
          <a:p>
            <a:r>
              <a:rPr lang="de-DE" sz="1600" dirty="0"/>
              <a:t>Selbsteinschätzung </a:t>
            </a:r>
            <a:r>
              <a:rPr lang="de-DE" sz="1600" dirty="0" err="1"/>
              <a:t>Auszubildende:r</a:t>
            </a:r>
            <a:endParaRPr lang="de-DE" sz="1600" dirty="0"/>
          </a:p>
          <a:p>
            <a:r>
              <a:rPr lang="de-DE" sz="1600" dirty="0"/>
              <a:t>Feedback</a:t>
            </a:r>
          </a:p>
          <a:p>
            <a:r>
              <a:rPr lang="de-DE" sz="1600" dirty="0"/>
              <a:t>Beurteilung des Lernenden</a:t>
            </a:r>
          </a:p>
          <a:p>
            <a:r>
              <a:rPr lang="de-DE" sz="1600" dirty="0"/>
              <a:t>Ggf. Konfliktgespräch / -lös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556478" y="6258639"/>
            <a:ext cx="843822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23888" y="623095"/>
            <a:ext cx="10944224" cy="115460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7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ArbeitGestalten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 (Hrsg.) (2021), S. 16 f.</a:t>
            </a:r>
          </a:p>
        </p:txBody>
      </p:sp>
    </p:spTree>
    <p:extLst>
      <p:ext uri="{BB962C8B-B14F-4D97-AF65-F5344CB8AC3E}">
        <p14:creationId xmlns:p14="http://schemas.microsoft.com/office/powerpoint/2010/main" val="2599103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5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0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"/>
                            </p:stCondLst>
                            <p:childTnLst>
                              <p:par>
                                <p:cTn id="5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000"/>
                            </p:stCondLst>
                            <p:childTnLst>
                              <p:par>
                                <p:cTn id="6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500"/>
                            </p:stCondLst>
                            <p:childTnLst>
                              <p:par>
                                <p:cTn id="6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2000"/>
                            </p:stCondLst>
                            <p:childTnLst>
                              <p:par>
                                <p:cTn id="7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500"/>
                            </p:stCondLst>
                            <p:childTnLst>
                              <p:par>
                                <p:cTn id="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3000"/>
                            </p:stCondLst>
                            <p:childTnLst>
                              <p:par>
                                <p:cTn id="7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  <p:bldP spid="9" grpId="0" uiExpand="1" build="p"/>
      <p:bldP spid="10" grpId="0" uiExpand="1" build="p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DA0CEA66-F15F-49F9-AECE-4883B859AB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24048" b="15631"/>
          <a:stretch/>
        </p:blipFill>
        <p:spPr>
          <a:xfrm>
            <a:off x="8189438" y="3678331"/>
            <a:ext cx="3887152" cy="234478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aktischer Einsatz</a:t>
            </a:r>
            <a:br>
              <a:rPr lang="de-DE" dirty="0"/>
            </a:br>
            <a:r>
              <a:rPr lang="de-DE" dirty="0"/>
              <a:t>Vor- | Zwischen- | Nachgespräch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A383FE8E-BD02-48AF-A074-05E956C846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2060575"/>
            <a:ext cx="8005207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er führt bei Euch welche Gespräche? </a:t>
            </a:r>
          </a:p>
          <a:p>
            <a:pPr marL="0" indent="0">
              <a:buNone/>
            </a:pPr>
            <a:r>
              <a:rPr lang="de-DE" sz="1600" dirty="0">
                <a:latin typeface="+mj-lt"/>
              </a:rPr>
              <a:t>Ergebnissicherung | PA H25 | September 2025</a:t>
            </a:r>
          </a:p>
          <a:p>
            <a:r>
              <a:rPr lang="de-DE" sz="1600" dirty="0"/>
              <a:t>Einteilung zur Begleitung der Lernenden, Einteilung im extra Plan für Gespräche durch Stationsleitung </a:t>
            </a:r>
            <a:r>
              <a:rPr lang="de-DE" sz="1600" dirty="0">
                <a:sym typeface="Wingdings" panose="05000000000000000000" pitchFamily="2" charset="2"/>
              </a:rPr>
              <a:t>Lernende übernehmen Verantwortung um Terminierung einzuhalten</a:t>
            </a:r>
          </a:p>
          <a:p>
            <a:r>
              <a:rPr lang="de-DE" sz="1600" dirty="0">
                <a:sym typeface="Wingdings" panose="05000000000000000000" pitchFamily="2" charset="2"/>
              </a:rPr>
              <a:t>Stationsleitung führt Erstgespräch, um viel Zeit für Schüler investieren zu können</a:t>
            </a:r>
          </a:p>
          <a:p>
            <a:r>
              <a:rPr lang="de-DE" sz="1600" dirty="0">
                <a:sym typeface="Wingdings" panose="05000000000000000000" pitchFamily="2" charset="2"/>
              </a:rPr>
              <a:t>Schüler werden tagesaktuell zugeteilt, wer </a:t>
            </a:r>
            <a:r>
              <a:rPr lang="de-DE" sz="1600" dirty="0" err="1">
                <a:sym typeface="Wingdings" panose="05000000000000000000" pitchFamily="2" charset="2"/>
              </a:rPr>
              <a:t>SuS</a:t>
            </a:r>
            <a:r>
              <a:rPr lang="de-DE" sz="1600" dirty="0">
                <a:sym typeface="Wingdings" panose="05000000000000000000" pitchFamily="2" charset="2"/>
              </a:rPr>
              <a:t> am ersten Tag mitnimmt, macht Erstgespräch  Tagesbewertungen werden ausgefüllt, um überhaupt Bewertung vornehmen zu können</a:t>
            </a:r>
          </a:p>
          <a:p>
            <a:r>
              <a:rPr lang="de-DE" sz="1600" dirty="0">
                <a:sym typeface="Wingdings" panose="05000000000000000000" pitchFamily="2" charset="2"/>
              </a:rPr>
              <a:t>Wenn Stationsleitung nicht anwesend  Delegation an </a:t>
            </a:r>
            <a:r>
              <a:rPr lang="de-DE" sz="1600" dirty="0" err="1">
                <a:sym typeface="Wingdings" panose="05000000000000000000" pitchFamily="2" charset="2"/>
              </a:rPr>
              <a:t>Kolleg:in</a:t>
            </a:r>
            <a:r>
              <a:rPr lang="de-DE" sz="1600" dirty="0">
                <a:sym typeface="Wingdings" panose="05000000000000000000" pitchFamily="2" charset="2"/>
              </a:rPr>
              <a:t>, </a:t>
            </a:r>
            <a:r>
              <a:rPr lang="de-DE" sz="1600" dirty="0" err="1">
                <a:sym typeface="Wingdings" panose="05000000000000000000" pitchFamily="2" charset="2"/>
              </a:rPr>
              <a:t>Kolleg:innen</a:t>
            </a:r>
            <a:r>
              <a:rPr lang="de-DE" sz="1600" dirty="0">
                <a:sym typeface="Wingdings" panose="05000000000000000000" pitchFamily="2" charset="2"/>
              </a:rPr>
              <a:t> werden jederzeit eingebunden</a:t>
            </a:r>
          </a:p>
          <a:p>
            <a:endParaRPr lang="de-DE" sz="1600" dirty="0"/>
          </a:p>
          <a:p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556478" y="6258639"/>
            <a:ext cx="843822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23888" y="623095"/>
            <a:ext cx="10944224" cy="115460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7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9614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DA0CEA66-F15F-49F9-AECE-4883B859AB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24048" b="15631"/>
          <a:stretch/>
        </p:blipFill>
        <p:spPr>
          <a:xfrm>
            <a:off x="8189438" y="3678331"/>
            <a:ext cx="3887152" cy="234478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aktischer Einsatz</a:t>
            </a:r>
            <a:br>
              <a:rPr lang="de-DE" dirty="0"/>
            </a:br>
            <a:r>
              <a:rPr lang="de-DE" dirty="0"/>
              <a:t>Vor- | Zwischen- | Nachgespräch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A383FE8E-BD02-48AF-A074-05E956C846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2060575"/>
            <a:ext cx="8005207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er führt bei Euch welche Gespräche? </a:t>
            </a:r>
          </a:p>
          <a:p>
            <a:pPr marL="0" indent="0">
              <a:buNone/>
            </a:pPr>
            <a:r>
              <a:rPr lang="de-DE" sz="1600" dirty="0">
                <a:latin typeface="+mj-lt"/>
              </a:rPr>
              <a:t>Ergebnissicherung | PA F25 | Februar 2025</a:t>
            </a:r>
          </a:p>
          <a:p>
            <a:r>
              <a:rPr lang="de-DE" sz="1600" dirty="0"/>
              <a:t>Kreißsaal: Leitung in Kooperation mit der Hochschule und Praxiskoordinatoren</a:t>
            </a:r>
          </a:p>
          <a:p>
            <a:r>
              <a:rPr lang="de-DE" sz="1600" dirty="0" err="1"/>
              <a:t>Nephro</a:t>
            </a:r>
            <a:r>
              <a:rPr lang="de-DE" sz="1600" dirty="0"/>
              <a:t>: </a:t>
            </a:r>
            <a:r>
              <a:rPr lang="de-DE" sz="1600" dirty="0" err="1"/>
              <a:t>Praxisanleiter:innen</a:t>
            </a:r>
            <a:r>
              <a:rPr lang="de-DE" sz="1600" dirty="0"/>
              <a:t>, Fachweiterbildung nephrologische Pflege</a:t>
            </a:r>
          </a:p>
          <a:p>
            <a:r>
              <a:rPr lang="de-DE" sz="1600" dirty="0"/>
              <a:t>HTG: Leitung in Beratung mit Anzuleitender, Tagesbeurteilung wird durch Anleitende verfasst, um Bild über Lernende vermitteln zu können</a:t>
            </a:r>
          </a:p>
          <a:p>
            <a:r>
              <a:rPr lang="de-DE" sz="1600" dirty="0"/>
              <a:t>Wahlleistungsstation: eigentlich Praxisanleitende, Bezugspflegekraft soll dies zukünftig übernehmen</a:t>
            </a:r>
          </a:p>
          <a:p>
            <a:r>
              <a:rPr lang="de-DE" sz="1600" dirty="0"/>
              <a:t>Berufsfeuerwehr: Praxisanleitende führen Gespräche, Möglichkeit besteht, weitere Personen hinzuzuziehen</a:t>
            </a:r>
          </a:p>
          <a:p>
            <a:r>
              <a:rPr lang="de-DE" sz="1600" dirty="0"/>
              <a:t>Chirurgische IPS: Gespräche durch PA, Abschlussgespräch immer unter 4 Augen, ggf. mit Leitung oder andere PA</a:t>
            </a:r>
          </a:p>
          <a:p>
            <a:r>
              <a:rPr lang="de-DE" sz="1600" dirty="0"/>
              <a:t>INZ: Gespräche durch PA oder stellv. Leitung oder </a:t>
            </a:r>
            <a:r>
              <a:rPr lang="de-DE" sz="1600" dirty="0" err="1"/>
              <a:t>Kolleg:innen</a:t>
            </a:r>
            <a:r>
              <a:rPr lang="de-DE" sz="1600" dirty="0"/>
              <a:t> mit Fachweiterbildung, feste PA (die auch in NFS angestellt sind) führen die Gespräch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556478" y="6258639"/>
            <a:ext cx="843822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23888" y="623095"/>
            <a:ext cx="10944224" cy="115460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5720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3688F9AA-3391-4D93-B09F-98990B680BA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3333" r="3333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205CDFEA-0E89-4705-8301-EE09D3EF14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503810"/>
            <a:ext cx="6095999" cy="1467990"/>
          </a:xfrm>
          <a:solidFill>
            <a:srgbClr val="C8E4D2"/>
          </a:solidFill>
        </p:spPr>
        <p:txBody>
          <a:bodyPr/>
          <a:lstStyle/>
          <a:p>
            <a:r>
              <a:rPr lang="de-DE" dirty="0"/>
              <a:t>	Praxisanleitung	</a:t>
            </a:r>
            <a:br>
              <a:rPr lang="de-DE" dirty="0"/>
            </a:br>
            <a:r>
              <a:rPr lang="de-DE" dirty="0"/>
              <a:t>	Vorgespräch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4FEF505-95D3-4522-A643-3E9E7C1260DD}"/>
              </a:ext>
            </a:extLst>
          </p:cNvPr>
          <p:cNvSpPr txBox="1"/>
          <p:nvPr/>
        </p:nvSpPr>
        <p:spPr>
          <a:xfrm>
            <a:off x="0" y="6858000"/>
            <a:ext cx="1219199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/>
              <a:t>"</a:t>
            </a:r>
            <a:r>
              <a:rPr lang="de-DE" sz="900">
                <a:hlinkClick r:id="rId3" tooltip="http://www.propublica.org/article/bill-would-add-nurses-physician-assistants-to-pharma-payments-database"/>
              </a:rPr>
              <a:t>Dieses Foto</a:t>
            </a:r>
            <a:r>
              <a:rPr lang="de-DE" sz="900"/>
              <a:t>" von Unbekannter Autor ist lizenziert gemäß </a:t>
            </a:r>
            <a:r>
              <a:rPr lang="de-DE" sz="900">
                <a:hlinkClick r:id="rId4" tooltip="https://creativecommons.org/licenses/by-nc-nd/3.0/"/>
              </a:rPr>
              <a:t>CC BY-NC-ND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25215850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469E3FE-98CD-4882-8108-C2231CB12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469E3FE-98CD-4882-8108-C2231CB12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C7BA182-EAB4-46B4-BD66-B4553C45C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Geplante vs. situative Anleitung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6F8098-73F7-4DF5-98D5-05126E37FE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B69332F-3E3A-447E-B968-6EFD28068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20825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AD1728A-0DD4-4D1D-A6F7-D52F2F1BB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A023DB4F-A347-49B8-B5FF-09323E896883}"/>
              </a:ext>
            </a:extLst>
          </p:cNvPr>
          <p:cNvSpPr/>
          <p:nvPr/>
        </p:nvSpPr>
        <p:spPr>
          <a:xfrm>
            <a:off x="10202333" y="6014591"/>
            <a:ext cx="1727200" cy="71640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D67F9702-5253-4F3A-964F-D2F09C0BC2B9}"/>
              </a:ext>
            </a:extLst>
          </p:cNvPr>
          <p:cNvGraphicFramePr>
            <a:graphicFrameLocks noGrp="1"/>
          </p:cNvGraphicFramePr>
          <p:nvPr/>
        </p:nvGraphicFramePr>
        <p:xfrm>
          <a:off x="623889" y="1480011"/>
          <a:ext cx="11064079" cy="45161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102378">
                  <a:extLst>
                    <a:ext uri="{9D8B030D-6E8A-4147-A177-3AD203B41FA5}">
                      <a16:colId xmlns:a16="http://schemas.microsoft.com/office/drawing/2014/main" val="2411788445"/>
                    </a:ext>
                  </a:extLst>
                </a:gridCol>
                <a:gridCol w="4461933">
                  <a:extLst>
                    <a:ext uri="{9D8B030D-6E8A-4147-A177-3AD203B41FA5}">
                      <a16:colId xmlns:a16="http://schemas.microsoft.com/office/drawing/2014/main" val="3044337828"/>
                    </a:ext>
                  </a:extLst>
                </a:gridCol>
                <a:gridCol w="4499768">
                  <a:extLst>
                    <a:ext uri="{9D8B030D-6E8A-4147-A177-3AD203B41FA5}">
                      <a16:colId xmlns:a16="http://schemas.microsoft.com/office/drawing/2014/main" val="27312929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Geplante Anl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Situative Anleitu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31703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Inha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Durchdachte Planung als Basi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Einschätzung des individuellen Lernstandes und Unterstützungsbedarfs des Lernend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Einschätzung der Ressourcen und Probleme des Lernend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Diese Bewertung ist Grundlage für Umsetzung der praktischen Anleitung sowie Lernberatung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Gestaltung von Methodik und Didaktik darauf aufbauend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Individuell angepasste Lern- und Arbeitsaufgaben</a:t>
                      </a:r>
                    </a:p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600" dirty="0"/>
                        <a:t>Individueller Lernstand ebenfalls die Grundlage zur Gestaltung der Anleitun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600" dirty="0"/>
                        <a:t>Beobachtung von Pflegetätigkeiten durch Lernende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600" dirty="0"/>
                        <a:t>Erklärung der Tätigkeiten durch </a:t>
                      </a:r>
                      <a:r>
                        <a:rPr lang="de-DE" sz="1600" dirty="0" err="1"/>
                        <a:t>Anleiter:in</a:t>
                      </a:r>
                      <a:endParaRPr lang="de-DE" sz="1600" dirty="0"/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600" dirty="0"/>
                        <a:t>Schaffen einer lernförderlichen Umgebung, indem Fragen zugelassen und beantwortet werden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600" dirty="0"/>
                        <a:t>Förderung der selbstständigen Übernahme von Aufgaben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600" dirty="0"/>
                        <a:t>Aufgabenübertragung (unter Beaufsichtigung) schrittweise entsprechend der individuellen Fähig- und Fertigkeite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75102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Aufgaben der Praxisanleitenden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Geben von individuellem Feedback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Unterstützung der Auszubildenden bei Bewältigung von Lern- und Arbeitsaufgabe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3941990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170CB10F-D036-442F-AB78-DB4F563B9220}"/>
              </a:ext>
            </a:extLst>
          </p:cNvPr>
          <p:cNvSpPr txBox="1"/>
          <p:nvPr/>
        </p:nvSpPr>
        <p:spPr>
          <a:xfrm>
            <a:off x="2874936" y="6258639"/>
            <a:ext cx="666530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800" dirty="0">
                <a:solidFill>
                  <a:schemeClr val="tx2"/>
                </a:solidFill>
              </a:rPr>
              <a:t> Vgl. Klein, Z./Peters, M./Garcia González, D./Dauer, B. (2021), S. 13; S. 17</a:t>
            </a:r>
          </a:p>
        </p:txBody>
      </p:sp>
    </p:spTree>
    <p:extLst>
      <p:ext uri="{BB962C8B-B14F-4D97-AF65-F5344CB8AC3E}">
        <p14:creationId xmlns:p14="http://schemas.microsoft.com/office/powerpoint/2010/main" val="287664290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</a:t>
            </a:r>
            <a:br>
              <a:rPr lang="de-DE" dirty="0"/>
            </a:br>
            <a:r>
              <a:rPr lang="de-DE" dirty="0"/>
              <a:t>Vorgespräch der Anleit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80</a:t>
            </a:fld>
            <a:endParaRPr lang="de-DE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F16251FD-7BF9-49E4-B893-336E753D85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5599354"/>
              </p:ext>
            </p:extLst>
          </p:nvPr>
        </p:nvGraphicFramePr>
        <p:xfrm>
          <a:off x="686717" y="1478449"/>
          <a:ext cx="10944224" cy="5240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41817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A3F0A306-227F-4CEE-976F-19EE2D23D21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>
                                            <p:graphicEl>
                                              <a:dgm id="{A3F0A306-227F-4CEE-976F-19EE2D23D21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EA306BC8-C901-47D8-B216-3787E18A33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8">
                                            <p:graphicEl>
                                              <a:dgm id="{EA306BC8-C901-47D8-B216-3787E18A332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DA298790-E298-4A31-A331-A25CE00E396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8">
                                            <p:graphicEl>
                                              <a:dgm id="{DA298790-E298-4A31-A331-A25CE00E396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62433E2D-66E4-4ABC-A6E5-30009C21DB6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>
                                            <p:graphicEl>
                                              <a:dgm id="{62433E2D-66E4-4ABC-A6E5-30009C21DB6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7A24BE29-B051-4F7A-9776-6833F03D0B4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8">
                                            <p:graphicEl>
                                              <a:dgm id="{7A24BE29-B051-4F7A-9776-6833F03D0B4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E2069983-7782-4A15-BC96-411534486F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8">
                                            <p:graphicEl>
                                              <a:dgm id="{E2069983-7782-4A15-BC96-411534486F3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B63F6120-DBA3-4DB3-BF7C-B8AF890F46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8">
                                            <p:graphicEl>
                                              <a:dgm id="{B63F6120-DBA3-4DB3-BF7C-B8AF890F46F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77C1F913-E2BE-4429-A2B1-A460FABD3F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">
                                            <p:graphicEl>
                                              <a:dgm id="{77C1F913-E2BE-4429-A2B1-A460FABD3FF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F3A52D6A-BB84-4552-A5A1-E81D0A9FA4E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8">
                                            <p:graphicEl>
                                              <a:dgm id="{F3A52D6A-BB84-4552-A5A1-E81D0A9FA4E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 uiExpand="1">
        <p:bldSub>
          <a:bldDgm bld="one"/>
        </p:bldSub>
      </p:bldGraphic>
    </p:bld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81</a:t>
            </a:fld>
            <a:endParaRPr lang="de-DE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F16251FD-7BF9-49E4-B893-336E753D85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5427200"/>
              </p:ext>
            </p:extLst>
          </p:nvPr>
        </p:nvGraphicFramePr>
        <p:xfrm>
          <a:off x="686717" y="1478449"/>
          <a:ext cx="10944224" cy="5240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prechblase: rechteckig mit abgerundeten Ecken 2">
            <a:extLst>
              <a:ext uri="{FF2B5EF4-FFF2-40B4-BE49-F238E27FC236}">
                <a16:creationId xmlns:a16="http://schemas.microsoft.com/office/drawing/2014/main" id="{C74DD5B8-0BD3-4FD1-A766-8F07DD0AD0E8}"/>
              </a:ext>
            </a:extLst>
          </p:cNvPr>
          <p:cNvSpPr/>
          <p:nvPr/>
        </p:nvSpPr>
        <p:spPr>
          <a:xfrm>
            <a:off x="6655779" y="2549770"/>
            <a:ext cx="4360984" cy="2557097"/>
          </a:xfrm>
          <a:prstGeom prst="wedgeRoundRectCallout">
            <a:avLst>
              <a:gd name="adj1" fmla="val -45709"/>
              <a:gd name="adj2" fmla="val 68150"/>
              <a:gd name="adj3" fmla="val 16667"/>
            </a:avLst>
          </a:prstGeom>
          <a:solidFill>
            <a:srgbClr val="FCE6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Ein Vor-, Zwischen- und Abschlussgespräch sollte auch für jeden praktischen Einsatz stattfinden.</a:t>
            </a:r>
          </a:p>
          <a:p>
            <a:pPr algn="ctr"/>
            <a:endParaRPr lang="de-DE" sz="1600" dirty="0">
              <a:solidFill>
                <a:schemeClr val="tx1"/>
              </a:solidFill>
            </a:endParaRPr>
          </a:p>
          <a:p>
            <a:pPr algn="ctr"/>
            <a:r>
              <a:rPr lang="de-DE" sz="1600" dirty="0">
                <a:solidFill>
                  <a:schemeClr val="tx1"/>
                </a:solidFill>
              </a:rPr>
              <a:t>Bei allg. Vorgespräch auch Erfragen v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Lernaufträ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Aufga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Interesse für best. Tätigkeiten</a:t>
            </a:r>
          </a:p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28961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93EC9640-46F3-402E-844D-D9EF7EC0C51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9D039795-BCB4-4803-96D8-04CCD134B5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1503810"/>
            <a:ext cx="6096000" cy="1467990"/>
          </a:xfrm>
          <a:solidFill>
            <a:srgbClr val="C8E4D2"/>
          </a:solidFill>
        </p:spPr>
        <p:txBody>
          <a:bodyPr/>
          <a:lstStyle/>
          <a:p>
            <a:r>
              <a:rPr lang="de-DE" dirty="0"/>
              <a:t>	Praxisanleitung	</a:t>
            </a:r>
            <a:br>
              <a:rPr lang="de-DE" dirty="0"/>
            </a:br>
            <a:r>
              <a:rPr lang="de-DE" dirty="0"/>
              <a:t>	Nachgespräch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4E3B3BB-74F9-4A99-B06F-C0A2E9211482}"/>
              </a:ext>
            </a:extLst>
          </p:cNvPr>
          <p:cNvSpPr txBox="1"/>
          <p:nvPr/>
        </p:nvSpPr>
        <p:spPr>
          <a:xfrm>
            <a:off x="0" y="6858000"/>
            <a:ext cx="1219199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/>
              <a:t>"</a:t>
            </a:r>
            <a:r>
              <a:rPr lang="de-DE" sz="900">
                <a:hlinkClick r:id="rId3" tooltip="https://researchoutreach.org/articles/pain-care-role-social-class-nurses-patient-management/"/>
              </a:rPr>
              <a:t>Dieses Foto</a:t>
            </a:r>
            <a:r>
              <a:rPr lang="de-DE" sz="900"/>
              <a:t>" von Unbekannter Autor ist lizenziert gemäß </a:t>
            </a:r>
            <a:r>
              <a:rPr lang="de-DE" sz="900">
                <a:hlinkClick r:id="rId4" tooltip="https://creativecommons.org/licenses/by-nc-nd/3.0/"/>
              </a:rPr>
              <a:t>CC BY-NC-ND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1676668592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ikation</a:t>
            </a:r>
            <a:br>
              <a:rPr lang="de-DE" dirty="0"/>
            </a:br>
            <a:r>
              <a:rPr lang="de-DE" dirty="0"/>
              <a:t>Nachgespräch der Anleit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83</a:t>
            </a:fld>
            <a:endParaRPr lang="de-DE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F16251FD-7BF9-49E4-B893-336E753D85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5422109"/>
              </p:ext>
            </p:extLst>
          </p:nvPr>
        </p:nvGraphicFramePr>
        <p:xfrm>
          <a:off x="686717" y="1478449"/>
          <a:ext cx="10944224" cy="5240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72314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A3F0A306-227F-4CEE-976F-19EE2D23D21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>
                                            <p:graphicEl>
                                              <a:dgm id="{A3F0A306-227F-4CEE-976F-19EE2D23D21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EA306BC8-C901-47D8-B216-3787E18A33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8">
                                            <p:graphicEl>
                                              <a:dgm id="{EA306BC8-C901-47D8-B216-3787E18A332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DA298790-E298-4A31-A331-A25CE00E396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8">
                                            <p:graphicEl>
                                              <a:dgm id="{DA298790-E298-4A31-A331-A25CE00E396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62433E2D-66E4-4ABC-A6E5-30009C21DB6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>
                                            <p:graphicEl>
                                              <a:dgm id="{62433E2D-66E4-4ABC-A6E5-30009C21DB6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7A24BE29-B051-4F7A-9776-6833F03D0B4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8">
                                            <p:graphicEl>
                                              <a:dgm id="{7A24BE29-B051-4F7A-9776-6833F03D0B4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E2069983-7782-4A15-BC96-411534486F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8">
                                            <p:graphicEl>
                                              <a:dgm id="{E2069983-7782-4A15-BC96-411534486F3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B63F6120-DBA3-4DB3-BF7C-B8AF890F46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8">
                                            <p:graphicEl>
                                              <a:dgm id="{B63F6120-DBA3-4DB3-BF7C-B8AF890F46F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77C1F913-E2BE-4429-A2B1-A460FABD3F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">
                                            <p:graphicEl>
                                              <a:dgm id="{77C1F913-E2BE-4429-A2B1-A460FABD3FF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F3A52D6A-BB84-4552-A5A1-E81D0A9FA4E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8">
                                            <p:graphicEl>
                                              <a:dgm id="{F3A52D6A-BB84-4552-A5A1-E81D0A9FA4E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 uiExpand="1">
        <p:bldSub>
          <a:bldDgm bld="one"/>
        </p:bldSub>
      </p:bldGraphic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8EEBFE17-7DA7-4F7B-A5DA-DACD5793D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prächsleitfäd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D3607686-24D5-496C-B520-267852D48B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Bitte lies Dir die Gesprächsleitfäden des BIBB durch. Du hast 5 Minuten Zeit.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b="1" dirty="0"/>
              <a:t>Wir besprechen im Plenum folgende Fragen:</a:t>
            </a:r>
          </a:p>
          <a:p>
            <a:pPr lvl="1"/>
            <a:r>
              <a:rPr lang="de-DE" sz="1600" dirty="0"/>
              <a:t>Fällt Dir etwas auf? </a:t>
            </a:r>
          </a:p>
          <a:p>
            <a:pPr lvl="1"/>
            <a:r>
              <a:rPr lang="de-DE" sz="1600" dirty="0"/>
              <a:t>Fehlt Dir etwas bei den Leitfäden? </a:t>
            </a:r>
          </a:p>
          <a:p>
            <a:pPr lvl="1"/>
            <a:r>
              <a:rPr lang="de-DE" sz="1600" dirty="0"/>
              <a:t>Was müsste angepasst oder verändert werden, damit die Gesprächsleitfäden auch für Deinen Bereich passen?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17CFB88-95DB-4ACF-BB89-47917781DB8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1027331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3CF16EC-F423-4BCC-8FD8-4CA47C96BF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7" y="623094"/>
            <a:ext cx="10868291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FF1536C-05C8-466B-9278-3A3BBCD3AD0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84</a:t>
            </a:fld>
            <a:endParaRPr lang="de-DE" dirty="0"/>
          </a:p>
        </p:txBody>
      </p:sp>
      <p:pic>
        <p:nvPicPr>
          <p:cNvPr id="14" name="Grafik 13" descr="Liste">
            <a:extLst>
              <a:ext uri="{FF2B5EF4-FFF2-40B4-BE49-F238E27FC236}">
                <a16:creationId xmlns:a16="http://schemas.microsoft.com/office/drawing/2014/main" id="{C856A709-B411-4272-AE7B-974AAFF1B4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92330" y="1890736"/>
            <a:ext cx="2466363" cy="2466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53676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786695-E248-488D-974C-9F8162979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icherung - Gesprächsleitfäd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E9583CA-06E3-4A8D-90D9-B26DEE740C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8175564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Anmerkungen zu den Gesprächsleitfäden – Ideensammlung | PA F25 | Februar 2025</a:t>
            </a:r>
            <a:endParaRPr lang="de-DE" sz="1600" dirty="0"/>
          </a:p>
          <a:p>
            <a:r>
              <a:rPr lang="de-DE" sz="1600" dirty="0"/>
              <a:t>Guter Ansatz, um Ideen für Gesprächsführung und Inhalte zu bekommen </a:t>
            </a:r>
            <a:r>
              <a:rPr lang="de-DE" sz="1600" dirty="0">
                <a:sym typeface="Wingdings" panose="05000000000000000000" pitchFamily="2" charset="2"/>
              </a:rPr>
              <a:t> Inspiration</a:t>
            </a:r>
            <a:endParaRPr lang="de-DE" sz="1600" dirty="0"/>
          </a:p>
          <a:p>
            <a:r>
              <a:rPr lang="de-DE" sz="1600" dirty="0"/>
              <a:t>Einbeziehen von Lernenden ist vorhanden</a:t>
            </a:r>
          </a:p>
          <a:p>
            <a:r>
              <a:rPr lang="de-DE" sz="1600" dirty="0"/>
              <a:t>Für jedes Gespräch möglich </a:t>
            </a:r>
            <a:r>
              <a:rPr lang="de-DE" sz="1600" dirty="0">
                <a:sym typeface="Wingdings" panose="05000000000000000000" pitchFamily="2" charset="2"/>
              </a:rPr>
              <a:t> roter Faden ist so vorhanden</a:t>
            </a:r>
            <a:endParaRPr lang="de-DE" sz="1600" dirty="0"/>
          </a:p>
          <a:p>
            <a:r>
              <a:rPr lang="de-DE" sz="1600" dirty="0"/>
              <a:t>Inhalte werden kontinuierlich aufgegriff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79E7A2-4E98-4C0F-9EBB-FC883EDFD0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3F41392-1BA4-4C97-9EE0-4E1E5745F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882922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5EF5B9-4A6F-4A4B-8813-CFF1F5BC3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85</a:t>
            </a:fld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A9AFF65-21FA-4D0A-A8F9-BEA0836F4C5D}"/>
              </a:ext>
            </a:extLst>
          </p:cNvPr>
          <p:cNvGrpSpPr/>
          <p:nvPr/>
        </p:nvGrpSpPr>
        <p:grpSpPr>
          <a:xfrm>
            <a:off x="8799452" y="1947824"/>
            <a:ext cx="2830808" cy="2786704"/>
            <a:chOff x="8504728" y="1660657"/>
            <a:chExt cx="2830808" cy="2786704"/>
          </a:xfrm>
        </p:grpSpPr>
        <p:pic>
          <p:nvPicPr>
            <p:cNvPr id="13" name="Grafik 12" descr="Aktualisieren">
              <a:extLst>
                <a:ext uri="{FF2B5EF4-FFF2-40B4-BE49-F238E27FC236}">
                  <a16:creationId xmlns:a16="http://schemas.microsoft.com/office/drawing/2014/main" id="{35A65C54-A523-4326-B88A-17F9A9081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6200000">
              <a:off x="8504728" y="2311242"/>
              <a:ext cx="2136119" cy="2136119"/>
            </a:xfrm>
            <a:prstGeom prst="rect">
              <a:avLst/>
            </a:prstGeom>
          </p:spPr>
        </p:pic>
        <p:pic>
          <p:nvPicPr>
            <p:cNvPr id="14" name="Grafik 13" descr="Aktualisieren">
              <a:extLst>
                <a:ext uri="{FF2B5EF4-FFF2-40B4-BE49-F238E27FC236}">
                  <a16:creationId xmlns:a16="http://schemas.microsoft.com/office/drawing/2014/main" id="{133E77A3-EC93-4792-B20B-43F40015C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9199417" y="1660657"/>
              <a:ext cx="2136119" cy="2136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142229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786695-E248-488D-974C-9F8162979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icherung - Gesprächsleitfäd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E9583CA-06E3-4A8D-90D9-B26DEE740C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8175564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Veränderung der Gesprächsleitfäden – Ideensammlung | PA H24 | 13. Juni 2024</a:t>
            </a:r>
            <a:endParaRPr lang="de-DE" sz="1600" dirty="0"/>
          </a:p>
          <a:p>
            <a:r>
              <a:rPr lang="de-DE" sz="1600" dirty="0"/>
              <a:t>Übertragung dieser Inhalte in die eigene Praxis</a:t>
            </a:r>
          </a:p>
          <a:p>
            <a:r>
              <a:rPr lang="de-DE" sz="1600" dirty="0"/>
              <a:t>Ergänzung um die Abfrage der Befindlichkeiten und des Befindens der Auszubildenden</a:t>
            </a:r>
          </a:p>
          <a:p>
            <a:r>
              <a:rPr lang="de-DE" sz="1600" dirty="0"/>
              <a:t>Ergänzung um die abschließende Bewertung von Auszubildend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79E7A2-4E98-4C0F-9EBB-FC883EDFD0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3F41392-1BA4-4C97-9EE0-4E1E5745F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882922" cy="123111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5EF5B9-4A6F-4A4B-8813-CFF1F5BC3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86</a:t>
            </a:fld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A9AFF65-21FA-4D0A-A8F9-BEA0836F4C5D}"/>
              </a:ext>
            </a:extLst>
          </p:cNvPr>
          <p:cNvGrpSpPr/>
          <p:nvPr/>
        </p:nvGrpSpPr>
        <p:grpSpPr>
          <a:xfrm>
            <a:off x="8799452" y="1947824"/>
            <a:ext cx="2830808" cy="2786704"/>
            <a:chOff x="8504728" y="1660657"/>
            <a:chExt cx="2830808" cy="2786704"/>
          </a:xfrm>
        </p:grpSpPr>
        <p:pic>
          <p:nvPicPr>
            <p:cNvPr id="13" name="Grafik 12" descr="Aktualisieren">
              <a:extLst>
                <a:ext uri="{FF2B5EF4-FFF2-40B4-BE49-F238E27FC236}">
                  <a16:creationId xmlns:a16="http://schemas.microsoft.com/office/drawing/2014/main" id="{35A65C54-A523-4326-B88A-17F9A9081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6200000">
              <a:off x="8504728" y="2311242"/>
              <a:ext cx="2136119" cy="2136119"/>
            </a:xfrm>
            <a:prstGeom prst="rect">
              <a:avLst/>
            </a:prstGeom>
          </p:spPr>
        </p:pic>
        <p:pic>
          <p:nvPicPr>
            <p:cNvPr id="14" name="Grafik 13" descr="Aktualisieren">
              <a:extLst>
                <a:ext uri="{FF2B5EF4-FFF2-40B4-BE49-F238E27FC236}">
                  <a16:creationId xmlns:a16="http://schemas.microsoft.com/office/drawing/2014/main" id="{133E77A3-EC93-4792-B20B-43F40015C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9199417" y="1660657"/>
              <a:ext cx="2136119" cy="2136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7516592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prächsstrukturen in den Einrichtun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C7E85A8-0463-4483-84D1-59371CF79F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Unterschiedliche Beurteilungsbögen und Strukturvorgaben der jeweiligen Träger der theoretischen Ausbildung</a:t>
            </a:r>
          </a:p>
          <a:p>
            <a:pPr marL="0" indent="0">
              <a:buNone/>
            </a:pPr>
            <a:endParaRPr lang="de-DE" sz="1600" dirty="0"/>
          </a:p>
          <a:p>
            <a:pPr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Wie sind die Gespräche in Deiner Einrichtung strukturiert?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Gibt es Vorgaben?</a:t>
            </a: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556478" y="6258639"/>
            <a:ext cx="843822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3888" y="623094"/>
            <a:ext cx="10944224" cy="1077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87</a:t>
            </a:fld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925CC55-0A28-4B8A-AE70-1C00B8FB06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B31651A-170F-41C7-8B96-220F64BDDC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395854" y="1229179"/>
            <a:ext cx="3459968" cy="31834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6860056-D5D8-4E21-9DFE-D588E3F50F02}"/>
              </a:ext>
            </a:extLst>
          </p:cNvPr>
          <p:cNvSpPr txBox="1"/>
          <p:nvPr/>
        </p:nvSpPr>
        <p:spPr>
          <a:xfrm>
            <a:off x="8395854" y="4420860"/>
            <a:ext cx="345996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700" dirty="0"/>
              <a:t>"</a:t>
            </a:r>
            <a:r>
              <a:rPr lang="de-DE" sz="700" dirty="0">
                <a:hlinkClick r:id="rId3" tooltip="https://commons.wikimedia.org/wiki/File:Oliver_Tacke_-_Diskussion.png"/>
              </a:rPr>
              <a:t>Dieses Foto</a:t>
            </a:r>
            <a:r>
              <a:rPr lang="de-DE" sz="700" dirty="0"/>
              <a:t>" von Unbekannter Autor ist lizenziert gemäß </a:t>
            </a:r>
            <a:r>
              <a:rPr lang="de-DE" sz="700" dirty="0">
                <a:hlinkClick r:id="rId4" tooltip="https://creativecommons.org/licenses/by-sa/3.0/"/>
              </a:rPr>
              <a:t>CC BY-SA</a:t>
            </a:r>
            <a:endParaRPr lang="de-DE" sz="700" dirty="0"/>
          </a:p>
        </p:txBody>
      </p:sp>
    </p:spTree>
    <p:extLst>
      <p:ext uri="{BB962C8B-B14F-4D97-AF65-F5344CB8AC3E}">
        <p14:creationId xmlns:p14="http://schemas.microsoft.com/office/powerpoint/2010/main" val="3532860435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icherung - Gesprächsstruktur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C7E85A8-0463-4483-84D1-59371CF79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7771966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  <a:sym typeface="Wingdings" panose="05000000000000000000" pitchFamily="2" charset="2"/>
              </a:rPr>
              <a:t>Ergebnissicherung – PA H25 | September 2025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Wie sind die Gespräche in Deiner Einrichtung strukturiert?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Gibt es Vorgaben?</a:t>
            </a:r>
          </a:p>
          <a:p>
            <a:r>
              <a:rPr lang="de-DE" sz="1200" dirty="0">
                <a:sym typeface="Wingdings" panose="05000000000000000000" pitchFamily="2" charset="2"/>
              </a:rPr>
              <a:t>x</a:t>
            </a:r>
          </a:p>
          <a:p>
            <a:endParaRPr lang="de-DE" sz="1600" dirty="0">
              <a:sym typeface="Wingdings" panose="05000000000000000000" pitchFamily="2" charset="2"/>
            </a:endParaRPr>
          </a:p>
          <a:p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7" y="623095"/>
            <a:ext cx="10944223" cy="89138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88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B31651A-170F-41C7-8B96-220F64BDDC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395854" y="1229179"/>
            <a:ext cx="3459968" cy="31834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6860056-D5D8-4E21-9DFE-D588E3F50F02}"/>
              </a:ext>
            </a:extLst>
          </p:cNvPr>
          <p:cNvSpPr txBox="1"/>
          <p:nvPr/>
        </p:nvSpPr>
        <p:spPr>
          <a:xfrm>
            <a:off x="8395854" y="4420860"/>
            <a:ext cx="345996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700" dirty="0"/>
              <a:t>"</a:t>
            </a:r>
            <a:r>
              <a:rPr lang="de-DE" sz="700" dirty="0">
                <a:hlinkClick r:id="rId3" tooltip="https://commons.wikimedia.org/wiki/File:Oliver_Tacke_-_Diskussion.png"/>
              </a:rPr>
              <a:t>Dieses Foto</a:t>
            </a:r>
            <a:r>
              <a:rPr lang="de-DE" sz="700" dirty="0"/>
              <a:t>" von Unbekannter Autor ist lizenziert gemäß </a:t>
            </a:r>
            <a:r>
              <a:rPr lang="de-DE" sz="700" dirty="0">
                <a:hlinkClick r:id="rId4" tooltip="https://creativecommons.org/licenses/by-sa/3.0/"/>
              </a:rPr>
              <a:t>CC BY-SA</a:t>
            </a:r>
            <a:endParaRPr lang="de-DE" sz="700" dirty="0"/>
          </a:p>
        </p:txBody>
      </p:sp>
    </p:spTree>
    <p:extLst>
      <p:ext uri="{BB962C8B-B14F-4D97-AF65-F5344CB8AC3E}">
        <p14:creationId xmlns:p14="http://schemas.microsoft.com/office/powerpoint/2010/main" val="132381638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icherung - Gesprächsstruktur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C7E85A8-0463-4483-84D1-59371CF79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7771966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  <a:sym typeface="Wingdings" panose="05000000000000000000" pitchFamily="2" charset="2"/>
              </a:rPr>
              <a:t>Ergebnissicherung – PA F25 | Februar 2025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Wie sind die Gespräche in Deiner Einrichtung strukturiert?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Gibt es Vorgaben?</a:t>
            </a:r>
          </a:p>
          <a:p>
            <a:r>
              <a:rPr lang="de-DE" sz="1200" dirty="0">
                <a:sym typeface="Wingdings" panose="05000000000000000000" pitchFamily="2" charset="2"/>
              </a:rPr>
              <a:t>Auszubildende (BFS) bringen vorgefertigte Dokumentation für Erst-/Zwischen-/Abschlussgespräch mit (enthalten in Ausbildungsmappe = Lernbegleitbuch)</a:t>
            </a:r>
          </a:p>
          <a:p>
            <a:r>
              <a:rPr lang="de-DE" sz="1200" dirty="0">
                <a:sym typeface="Wingdings" panose="05000000000000000000" pitchFamily="2" charset="2"/>
              </a:rPr>
              <a:t>Lernbegleitbuch enthält Aufgabenstellungen</a:t>
            </a:r>
          </a:p>
          <a:p>
            <a:r>
              <a:rPr lang="de-DE" sz="1200" dirty="0">
                <a:sym typeface="Wingdings" panose="05000000000000000000" pitchFamily="2" charset="2"/>
              </a:rPr>
              <a:t>Dokumentationen von Universität - Tagesbeurteilung wird täglich verfasst und den Studierenden ausgehändigt</a:t>
            </a:r>
          </a:p>
          <a:p>
            <a:r>
              <a:rPr lang="de-DE" sz="1200" dirty="0">
                <a:sym typeface="Wingdings" panose="05000000000000000000" pitchFamily="2" charset="2"/>
              </a:rPr>
              <a:t>Dokumentationsbögen für Erst-/Zwischen-/Abschlussgespräch</a:t>
            </a:r>
          </a:p>
          <a:p>
            <a:r>
              <a:rPr lang="de-DE" sz="1200" dirty="0">
                <a:sym typeface="Wingdings" panose="05000000000000000000" pitchFamily="2" charset="2"/>
              </a:rPr>
              <a:t>Ausbildungsbuch für Studierende, um Tätigkeiten unterschreiben zu lassen</a:t>
            </a:r>
          </a:p>
          <a:p>
            <a:r>
              <a:rPr lang="de-DE" sz="1200" dirty="0">
                <a:sym typeface="Wingdings" panose="05000000000000000000" pitchFamily="2" charset="2"/>
              </a:rPr>
              <a:t>Berufsfeuerwehr Begleitbuch – Aufgabenstellungen (auch fachspezifisch) + Beurteilungsbogen</a:t>
            </a:r>
          </a:p>
          <a:p>
            <a:r>
              <a:rPr lang="de-DE" sz="1200" dirty="0">
                <a:sym typeface="Wingdings" panose="05000000000000000000" pitchFamily="2" charset="2"/>
              </a:rPr>
              <a:t>FWB Notfallpflege – Dokumentation direkt nach einer Praxisanleitung – Bewertung nach einzelnen Kompetenzen</a:t>
            </a:r>
          </a:p>
          <a:p>
            <a:r>
              <a:rPr lang="de-DE" sz="1200" dirty="0">
                <a:sym typeface="Wingdings" panose="05000000000000000000" pitchFamily="2" charset="2"/>
              </a:rPr>
              <a:t>Handlungsorientierte Lernaufträge (</a:t>
            </a:r>
            <a:r>
              <a:rPr lang="de-DE" sz="1200" dirty="0" err="1">
                <a:sym typeface="Wingdings" panose="05000000000000000000" pitchFamily="2" charset="2"/>
              </a:rPr>
              <a:t>HoLas</a:t>
            </a:r>
            <a:r>
              <a:rPr lang="de-DE" sz="1200" dirty="0">
                <a:sym typeface="Wingdings" panose="05000000000000000000" pitchFamily="2" charset="2"/>
              </a:rPr>
              <a:t>) – 200 Seiten, für Nachweis der Durchführung/Lernen einzelner Themen/Tätigkeiten</a:t>
            </a:r>
          </a:p>
          <a:p>
            <a:r>
              <a:rPr lang="de-DE" sz="1200" dirty="0">
                <a:sym typeface="Wingdings" panose="05000000000000000000" pitchFamily="2" charset="2"/>
              </a:rPr>
              <a:t>Gibt Möglichkeit zur Benotung</a:t>
            </a:r>
          </a:p>
          <a:p>
            <a:r>
              <a:rPr lang="de-DE" sz="1200" dirty="0">
                <a:sym typeface="Wingdings" panose="05000000000000000000" pitchFamily="2" charset="2"/>
              </a:rPr>
              <a:t>Einarbeitungskonzept sieht auch Unterzeichnung von Durchführung unterschiedlicher Tätigkeiten durch</a:t>
            </a:r>
          </a:p>
          <a:p>
            <a:r>
              <a:rPr lang="de-DE" sz="1200" dirty="0">
                <a:sym typeface="Wingdings" panose="05000000000000000000" pitchFamily="2" charset="2"/>
              </a:rPr>
              <a:t>Anleitungen der neuen Mitarbeitenden überprüfen die Kenntnisse</a:t>
            </a:r>
          </a:p>
          <a:p>
            <a:endParaRPr lang="de-DE" sz="1600" dirty="0">
              <a:sym typeface="Wingdings" panose="05000000000000000000" pitchFamily="2" charset="2"/>
            </a:endParaRPr>
          </a:p>
          <a:p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7" y="623095"/>
            <a:ext cx="10944223" cy="89138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89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B31651A-170F-41C7-8B96-220F64BDDC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395854" y="1229179"/>
            <a:ext cx="3459968" cy="31834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6860056-D5D8-4E21-9DFE-D588E3F50F02}"/>
              </a:ext>
            </a:extLst>
          </p:cNvPr>
          <p:cNvSpPr txBox="1"/>
          <p:nvPr/>
        </p:nvSpPr>
        <p:spPr>
          <a:xfrm>
            <a:off x="8395854" y="4420860"/>
            <a:ext cx="345996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700" dirty="0"/>
              <a:t>"</a:t>
            </a:r>
            <a:r>
              <a:rPr lang="de-DE" sz="700" dirty="0">
                <a:hlinkClick r:id="rId3" tooltip="https://commons.wikimedia.org/wiki/File:Oliver_Tacke_-_Diskussion.png"/>
              </a:rPr>
              <a:t>Dieses Foto</a:t>
            </a:r>
            <a:r>
              <a:rPr lang="de-DE" sz="700" dirty="0"/>
              <a:t>" von Unbekannter Autor ist lizenziert gemäß </a:t>
            </a:r>
            <a:r>
              <a:rPr lang="de-DE" sz="700" dirty="0">
                <a:hlinkClick r:id="rId4" tooltip="https://creativecommons.org/licenses/by-sa/3.0/"/>
              </a:rPr>
              <a:t>CC BY-SA</a:t>
            </a:r>
            <a:endParaRPr lang="de-DE" sz="700" dirty="0"/>
          </a:p>
        </p:txBody>
      </p:sp>
    </p:spTree>
    <p:extLst>
      <p:ext uri="{BB962C8B-B14F-4D97-AF65-F5344CB8AC3E}">
        <p14:creationId xmlns:p14="http://schemas.microsoft.com/office/powerpoint/2010/main" val="37992567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D63317-8060-4E23-A7B0-D83447AB4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griffsbestimmung – Praxisanleitung vs. Praxisbegleit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60249D8-C68A-46AE-A7FE-A6AB1EF2CC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355353"/>
            <a:ext cx="876756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07A4B9B-3963-4A2D-AC87-204DDBDC9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5"/>
            <a:ext cx="10944224" cy="128574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4401E6-5F04-4022-B45E-A2A5D5DCA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3888" y="6355353"/>
            <a:ext cx="239711" cy="123111"/>
          </a:xfrm>
        </p:spPr>
        <p:txBody>
          <a:bodyPr/>
          <a:lstStyle/>
          <a:p>
            <a:fld id="{5BA60A30-CF8F-4947-992A-6F0F434EB4FF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08E30B8-9734-4767-A23F-31F6B46A3D73}"/>
              </a:ext>
            </a:extLst>
          </p:cNvPr>
          <p:cNvSpPr txBox="1">
            <a:spLocks/>
          </p:cNvSpPr>
          <p:nvPr/>
        </p:nvSpPr>
        <p:spPr>
          <a:xfrm>
            <a:off x="2502466" y="6355353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Vgl. </a:t>
            </a: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Schewior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-Popp, S. (2014), S. 36; Vgl. Denzel, S. (2019), S. 14 f.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704E7A95-4D0C-49E1-A4DD-63ECF3214E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Pfeil: gestreift nach rechts 9">
            <a:extLst>
              <a:ext uri="{FF2B5EF4-FFF2-40B4-BE49-F238E27FC236}">
                <a16:creationId xmlns:a16="http://schemas.microsoft.com/office/drawing/2014/main" id="{0F920553-E71D-4C2A-BDA6-73B6DA819006}"/>
              </a:ext>
            </a:extLst>
          </p:cNvPr>
          <p:cNvSpPr/>
          <p:nvPr/>
        </p:nvSpPr>
        <p:spPr>
          <a:xfrm>
            <a:off x="6111497" y="1358145"/>
            <a:ext cx="5470902" cy="2007031"/>
          </a:xfrm>
          <a:prstGeom prst="striped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Praxisbegleitung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11" name="Pfeil: gestreift nach rechts 10">
            <a:extLst>
              <a:ext uri="{FF2B5EF4-FFF2-40B4-BE49-F238E27FC236}">
                <a16:creationId xmlns:a16="http://schemas.microsoft.com/office/drawing/2014/main" id="{7AF9A78E-F040-4B02-8070-12213956BF32}"/>
              </a:ext>
            </a:extLst>
          </p:cNvPr>
          <p:cNvSpPr/>
          <p:nvPr/>
        </p:nvSpPr>
        <p:spPr>
          <a:xfrm rot="10800000" flipV="1">
            <a:off x="608388" y="1358144"/>
            <a:ext cx="5470902" cy="2007031"/>
          </a:xfrm>
          <a:prstGeom prst="striped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Praxisanleitung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F9C76EC-CA05-4EBD-8655-D2DCDD3C8B26}"/>
              </a:ext>
            </a:extLst>
          </p:cNvPr>
          <p:cNvSpPr/>
          <p:nvPr/>
        </p:nvSpPr>
        <p:spPr>
          <a:xfrm>
            <a:off x="623888" y="3365175"/>
            <a:ext cx="5455402" cy="29901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Unterschiedliche Formen der Anleitung von Lernen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eplante, prozesshafte Aktivität, der Lernenden im Rahmen der praktischen Einsät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Basierend auf individuellen Lernzielen, Kompetenzen, dem allgemeinen Ausbildungsziel, beruflichen Handlungskompeten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Aufgabe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Einführung in praktischen Allta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Verknüpfung von Theorie &amp; Praxi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Begleitung individueller Lernerfahrung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Vermittlung praktischen Fachwissen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C31B35A-E98F-4AB5-8FD0-817878A24E45}"/>
              </a:ext>
            </a:extLst>
          </p:cNvPr>
          <p:cNvSpPr/>
          <p:nvPr/>
        </p:nvSpPr>
        <p:spPr>
          <a:xfrm>
            <a:off x="6112710" y="3365175"/>
            <a:ext cx="5455402" cy="29901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Begleitung der Auszubildenden im Einsatzberei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Besuch durch Praxisanleitende / Lehrkräf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Aufgabe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Reflexion des Einsatz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Beratung und Begleitung der Lernend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Klärung des Rollenverständnisses &amp; des Berufsbild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Förderung der Persönlichkeitsentwicklung</a:t>
            </a:r>
          </a:p>
        </p:txBody>
      </p:sp>
    </p:spTree>
    <p:extLst>
      <p:ext uri="{BB962C8B-B14F-4D97-AF65-F5344CB8AC3E}">
        <p14:creationId xmlns:p14="http://schemas.microsoft.com/office/powerpoint/2010/main" val="2016573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3" grpId="0" animBg="1"/>
      <p:bldP spid="12" grpId="0" animBg="1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icherung - Gesprächsstruktur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C7E85A8-0463-4483-84D1-59371CF79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7771966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  <a:sym typeface="Wingdings" panose="05000000000000000000" pitchFamily="2" charset="2"/>
              </a:rPr>
              <a:t>Ergebnissicherung – PA H24 | 13. Juni 2024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Wie sind die Gespräche in Deiner Einrichtung strukturiert?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Gibt es Vorgaben?</a:t>
            </a:r>
          </a:p>
          <a:p>
            <a:r>
              <a:rPr lang="de-DE" sz="1600" dirty="0">
                <a:sym typeface="Wingdings" panose="05000000000000000000" pitchFamily="2" charset="2"/>
              </a:rPr>
              <a:t>Hebammen: Praxisanleitung + Studiengangs Koordination führen Gespräche alleine oder gemeinsam</a:t>
            </a:r>
          </a:p>
          <a:p>
            <a:r>
              <a:rPr lang="de-DE" sz="1600" dirty="0">
                <a:sym typeface="Wingdings" panose="05000000000000000000" pitchFamily="2" charset="2"/>
              </a:rPr>
              <a:t>HEH: Gesprächsführung durch hauptamtliche PA und Praxisanleitende auf den Stationen</a:t>
            </a:r>
          </a:p>
          <a:p>
            <a:r>
              <a:rPr lang="de-DE" sz="1600" dirty="0">
                <a:sym typeface="Wingdings" panose="05000000000000000000" pitchFamily="2" charset="2"/>
              </a:rPr>
              <a:t>SKBS: Hauptamtliche Praxisanleitende führen Gespräche für die Anleitungen</a:t>
            </a:r>
          </a:p>
          <a:p>
            <a:r>
              <a:rPr lang="de-DE" sz="1600" dirty="0">
                <a:sym typeface="Wingdings" panose="05000000000000000000" pitchFamily="2" charset="2"/>
              </a:rPr>
              <a:t>Erst-/Zwischen-/Abschlussgespräch wird durch Leitung durchgeführt, obwohl diese häufig nicht mit den Auszubildenden arbeitet  führt zu Beurteilungsfehlern</a:t>
            </a:r>
          </a:p>
          <a:p>
            <a:r>
              <a:rPr lang="de-DE" sz="1600" dirty="0">
                <a:sym typeface="Wingdings" panose="05000000000000000000" pitchFamily="2" charset="2"/>
              </a:rPr>
              <a:t>Gesprächsführung durch die entsprechenden Mitarbeitenden</a:t>
            </a:r>
          </a:p>
          <a:p>
            <a:endParaRPr lang="de-DE" sz="1600" dirty="0">
              <a:sym typeface="Wingdings" panose="05000000000000000000" pitchFamily="2" charset="2"/>
            </a:endParaRPr>
          </a:p>
          <a:p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7" y="623095"/>
            <a:ext cx="10944223" cy="89138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90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B31651A-170F-41C7-8B96-220F64BDDC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395854" y="1229179"/>
            <a:ext cx="3459968" cy="31834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6860056-D5D8-4E21-9DFE-D588E3F50F02}"/>
              </a:ext>
            </a:extLst>
          </p:cNvPr>
          <p:cNvSpPr txBox="1"/>
          <p:nvPr/>
        </p:nvSpPr>
        <p:spPr>
          <a:xfrm>
            <a:off x="8395854" y="4420860"/>
            <a:ext cx="345996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700" dirty="0"/>
              <a:t>"</a:t>
            </a:r>
            <a:r>
              <a:rPr lang="de-DE" sz="700" dirty="0">
                <a:hlinkClick r:id="rId3" tooltip="https://commons.wikimedia.org/wiki/File:Oliver_Tacke_-_Diskussion.png"/>
              </a:rPr>
              <a:t>Dieses Foto</a:t>
            </a:r>
            <a:r>
              <a:rPr lang="de-DE" sz="700" dirty="0"/>
              <a:t>" von Unbekannter Autor ist lizenziert gemäß </a:t>
            </a:r>
            <a:r>
              <a:rPr lang="de-DE" sz="700" dirty="0">
                <a:hlinkClick r:id="rId4" tooltip="https://creativecommons.org/licenses/by-sa/3.0/"/>
              </a:rPr>
              <a:t>CC BY-SA</a:t>
            </a:r>
            <a:endParaRPr lang="de-DE" sz="700" dirty="0"/>
          </a:p>
        </p:txBody>
      </p:sp>
    </p:spTree>
    <p:extLst>
      <p:ext uri="{BB962C8B-B14F-4D97-AF65-F5344CB8AC3E}">
        <p14:creationId xmlns:p14="http://schemas.microsoft.com/office/powerpoint/2010/main" val="2632418922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AFBCDF63-6EEF-4326-9B1D-13220C86E56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C772F6-49C5-4DAE-B21C-0962C3F854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503810"/>
            <a:ext cx="6095999" cy="817360"/>
          </a:xfrm>
          <a:solidFill>
            <a:srgbClr val="C8E4D2"/>
          </a:solidFill>
        </p:spPr>
        <p:txBody>
          <a:bodyPr/>
          <a:lstStyle/>
          <a:p>
            <a:r>
              <a:rPr lang="de-DE" dirty="0"/>
              <a:t>	Feedback</a:t>
            </a:r>
          </a:p>
        </p:txBody>
      </p:sp>
    </p:spTree>
    <p:extLst>
      <p:ext uri="{BB962C8B-B14F-4D97-AF65-F5344CB8AC3E}">
        <p14:creationId xmlns:p14="http://schemas.microsoft.com/office/powerpoint/2010/main" val="84692435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92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E88241C-47E2-4373-8508-1F9EC103966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0156" t="18259" r="10915" b="18239"/>
          <a:stretch/>
        </p:blipFill>
        <p:spPr>
          <a:xfrm>
            <a:off x="6498236" y="2151088"/>
            <a:ext cx="5224072" cy="2802022"/>
          </a:xfrm>
          <a:prstGeom prst="rect">
            <a:avLst/>
          </a:prstGeom>
        </p:spPr>
      </p:pic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C2EBC026-4BAC-45BB-A0A5-8FE85AFC6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5791902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as stellst Du Dir unter Feedback vor?</a:t>
            </a:r>
          </a:p>
          <a:p>
            <a:pPr marL="0" indent="0">
              <a:buNone/>
            </a:pPr>
            <a:endParaRPr lang="de-DE" sz="1600" dirty="0">
              <a:latin typeface="+mj-lt"/>
            </a:endParaRPr>
          </a:p>
          <a:p>
            <a:r>
              <a:rPr lang="de-DE" sz="1600" dirty="0"/>
              <a:t>Wie sollte es aussehen?</a:t>
            </a:r>
          </a:p>
          <a:p>
            <a:r>
              <a:rPr lang="de-DE" sz="1600" dirty="0"/>
              <a:t>Was sollte beachten werden?</a:t>
            </a:r>
          </a:p>
          <a:p>
            <a:r>
              <a:rPr lang="de-DE" sz="1600" dirty="0"/>
              <a:t>Was sollte vermieden werden?</a:t>
            </a:r>
          </a:p>
        </p:txBody>
      </p:sp>
    </p:spTree>
    <p:extLst>
      <p:ext uri="{BB962C8B-B14F-4D97-AF65-F5344CB8AC3E}">
        <p14:creationId xmlns:p14="http://schemas.microsoft.com/office/powerpoint/2010/main" val="1721467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 build="p"/>
    </p:bld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93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E88241C-47E2-4373-8508-1F9EC103966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0156" t="18259" r="10915" b="18239"/>
          <a:stretch/>
        </p:blipFill>
        <p:spPr>
          <a:xfrm>
            <a:off x="6498236" y="2151088"/>
            <a:ext cx="5224072" cy="2802022"/>
          </a:xfrm>
          <a:prstGeom prst="rect">
            <a:avLst/>
          </a:prstGeom>
        </p:spPr>
      </p:pic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C2EBC026-4BAC-45BB-A0A5-8FE85AFC6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060575"/>
            <a:ext cx="6100000" cy="3816350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>
                <a:latin typeface="+mj-lt"/>
              </a:rPr>
              <a:t>Was stellst Du Dir unter Feedback vor? PA H25 | September 2025</a:t>
            </a:r>
          </a:p>
          <a:p>
            <a:r>
              <a:rPr lang="de-DE" i="1" dirty="0"/>
              <a:t>Wie sollte es aussehen?</a:t>
            </a:r>
          </a:p>
          <a:p>
            <a:r>
              <a:rPr lang="de-DE" i="1" dirty="0"/>
              <a:t>Was sollte beachten werden?</a:t>
            </a:r>
          </a:p>
          <a:p>
            <a:r>
              <a:rPr lang="de-DE" i="1" dirty="0"/>
              <a:t>Was sollte vermieden werden?</a:t>
            </a:r>
          </a:p>
          <a:p>
            <a:endParaRPr lang="de-DE" sz="1600" dirty="0"/>
          </a:p>
          <a:p>
            <a:r>
              <a:rPr lang="de-DE" dirty="0"/>
              <a:t>Wertschätzende Formulierung</a:t>
            </a:r>
          </a:p>
          <a:p>
            <a:r>
              <a:rPr lang="de-DE" dirty="0"/>
              <a:t>Stärken &amp; Schwächen reflektieren</a:t>
            </a:r>
          </a:p>
          <a:p>
            <a:r>
              <a:rPr lang="de-DE" dirty="0"/>
              <a:t>Konstruktive Kritik und Lob</a:t>
            </a:r>
          </a:p>
          <a:p>
            <a:r>
              <a:rPr lang="de-DE" dirty="0"/>
              <a:t>Sandwichmethode</a:t>
            </a:r>
          </a:p>
          <a:p>
            <a:r>
              <a:rPr lang="de-DE" dirty="0"/>
              <a:t>Methode authentisch einsetzen</a:t>
            </a:r>
          </a:p>
          <a:p>
            <a:r>
              <a:rPr lang="de-DE" dirty="0"/>
              <a:t>Passender Rahmen (nicht vor Team/Patienten bloßstellen) </a:t>
            </a:r>
            <a:r>
              <a:rPr lang="de-DE" dirty="0">
                <a:sym typeface="Wingdings" panose="05000000000000000000" pitchFamily="2" charset="2"/>
              </a:rPr>
              <a:t> unter 4 Augen</a:t>
            </a:r>
          </a:p>
          <a:p>
            <a:r>
              <a:rPr lang="de-DE" dirty="0">
                <a:sym typeface="Wingdings" panose="05000000000000000000" pitchFamily="2" charset="2"/>
              </a:rPr>
              <a:t>Individualität beachten</a:t>
            </a:r>
          </a:p>
          <a:p>
            <a:r>
              <a:rPr lang="de-DE" dirty="0">
                <a:sym typeface="Wingdings" panose="05000000000000000000" pitchFamily="2" charset="2"/>
              </a:rPr>
              <a:t>Gesamte Anleitung betrachten</a:t>
            </a:r>
          </a:p>
          <a:p>
            <a:r>
              <a:rPr lang="de-DE" dirty="0">
                <a:sym typeface="Wingdings" panose="05000000000000000000" pitchFamily="2" charset="2"/>
              </a:rPr>
              <a:t>Fairness und basierend auf Wahrh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2247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 build="p"/>
    </p:bld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9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305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8E848D5-37C7-4AA7-A3CC-AE6C7FA5634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0156" t="18259" r="10915" b="18239"/>
          <a:stretch/>
        </p:blipFill>
        <p:spPr>
          <a:xfrm>
            <a:off x="7071923" y="3677616"/>
            <a:ext cx="4410542" cy="2365671"/>
          </a:xfrm>
          <a:prstGeom prst="rect">
            <a:avLst/>
          </a:prstGeom>
        </p:spPr>
      </p:pic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136530"/>
            <a:ext cx="9267458" cy="1556238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txBody>
          <a:bodyPr anchor="ctr"/>
          <a:lstStyle/>
          <a:p>
            <a:pPr marL="180000" lvl="1" indent="0">
              <a:buNone/>
            </a:pPr>
            <a:r>
              <a:rPr lang="de-DE" sz="1600" dirty="0"/>
              <a:t>Ein Feedback ist eine Rückmeldung und soll das Verhalten einer Person aktuell spiegeln und kritisch bewerten.</a:t>
            </a:r>
          </a:p>
          <a:p>
            <a:pPr marL="180000" lvl="1" indent="0">
              <a:buNone/>
            </a:pPr>
            <a:r>
              <a:rPr lang="de-DE" sz="1600" dirty="0"/>
              <a:t>Feedback bewertet nicht die Persönlichkeit, deren Charakter oder Eigenschaften, sondern beschreibt das wahrgenommene Verhalten einer Person in einer ausgewählten Situation.</a:t>
            </a:r>
          </a:p>
        </p:txBody>
      </p:sp>
    </p:spTree>
    <p:extLst>
      <p:ext uri="{BB962C8B-B14F-4D97-AF65-F5344CB8AC3E}">
        <p14:creationId xmlns:p14="http://schemas.microsoft.com/office/powerpoint/2010/main" val="11697296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 animBg="1"/>
    </p:bld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9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305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136530"/>
            <a:ext cx="9249874" cy="1556238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txBody>
          <a:bodyPr anchor="ctr"/>
          <a:lstStyle/>
          <a:p>
            <a:pPr marL="180000" lvl="1" indent="0">
              <a:buNone/>
            </a:pPr>
            <a:r>
              <a:rPr lang="de-DE" sz="1600" dirty="0"/>
              <a:t>Ein Feedback ist eine Rückmeldung und soll das Verhalten einer Person aktuell spiegeln und kritisch bewerten.</a:t>
            </a:r>
          </a:p>
          <a:p>
            <a:pPr marL="180000" lvl="1" indent="0">
              <a:buNone/>
            </a:pPr>
            <a:r>
              <a:rPr lang="de-DE" sz="1600" dirty="0"/>
              <a:t>Feedback bewertet nicht die Persönlichkeit, deren Charakter oder Eigenschaften, sondern beschreibt das wahrgenommene Verhalten einer Person in einer ausgewählten Situation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009D3A6-9F2E-4412-8CE6-1AE4B9905812}"/>
              </a:ext>
            </a:extLst>
          </p:cNvPr>
          <p:cNvSpPr/>
          <p:nvPr/>
        </p:nvSpPr>
        <p:spPr>
          <a:xfrm>
            <a:off x="623888" y="3930162"/>
            <a:ext cx="8423397" cy="22156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e-DE" sz="1600" b="1" dirty="0">
                <a:solidFill>
                  <a:schemeClr val="tx1"/>
                </a:solidFill>
              </a:rPr>
              <a:t>Regeln für </a:t>
            </a:r>
            <a:r>
              <a:rPr lang="de-DE" sz="1600" b="1" dirty="0" err="1">
                <a:solidFill>
                  <a:schemeClr val="tx1"/>
                </a:solidFill>
              </a:rPr>
              <a:t>Feedbackgeber:innen</a:t>
            </a:r>
            <a:endParaRPr lang="de-DE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Bleibe beschreibend, werde nicht bewerte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Konkrete, realistische und angemessene Formulierung bei direkter Ansprach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Zuerst Lob &amp; Anerkennung, danach Kriti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Formulierung in Ich-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Beobachtungshintergründe benen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Konstruktive Hinweise ge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Freundlicher Umgangston</a:t>
            </a:r>
          </a:p>
        </p:txBody>
      </p:sp>
    </p:spTree>
    <p:extLst>
      <p:ext uri="{BB962C8B-B14F-4D97-AF65-F5344CB8AC3E}">
        <p14:creationId xmlns:p14="http://schemas.microsoft.com/office/powerpoint/2010/main" val="2617142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 geb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9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305</a:t>
            </a:r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99927222-ACFA-48A5-A0F5-887CEB1E4CBC}"/>
              </a:ext>
            </a:extLst>
          </p:cNvPr>
          <p:cNvSpPr/>
          <p:nvPr/>
        </p:nvSpPr>
        <p:spPr>
          <a:xfrm>
            <a:off x="1425146" y="1404551"/>
            <a:ext cx="9341708" cy="4436076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pic>
        <p:nvPicPr>
          <p:cNvPr id="12" name="Inhaltsplatzhalter 11" descr="Recherche">
            <a:extLst>
              <a:ext uri="{FF2B5EF4-FFF2-40B4-BE49-F238E27FC236}">
                <a16:creationId xmlns:a16="http://schemas.microsoft.com/office/drawing/2014/main" id="{40BE19C8-F638-4C77-85E7-0A3A0DD2148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0728" y="3595855"/>
            <a:ext cx="1150541" cy="1150541"/>
          </a:xfr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4AA25D31-9913-4E92-A683-03927FA4BFF9}"/>
              </a:ext>
            </a:extLst>
          </p:cNvPr>
          <p:cNvGrpSpPr/>
          <p:nvPr/>
        </p:nvGrpSpPr>
        <p:grpSpPr>
          <a:xfrm>
            <a:off x="1865871" y="3529430"/>
            <a:ext cx="1243913" cy="1283393"/>
            <a:chOff x="1828800" y="2201212"/>
            <a:chExt cx="1243913" cy="1283393"/>
          </a:xfrm>
        </p:grpSpPr>
        <p:pic>
          <p:nvPicPr>
            <p:cNvPr id="20" name="Grafik 19" descr="Herz">
              <a:extLst>
                <a:ext uri="{FF2B5EF4-FFF2-40B4-BE49-F238E27FC236}">
                  <a16:creationId xmlns:a16="http://schemas.microsoft.com/office/drawing/2014/main" id="{7C5FA2C4-A032-47DC-ADD2-6218026FBF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75486" y="2284114"/>
              <a:ext cx="1150541" cy="1150541"/>
            </a:xfrm>
            <a:prstGeom prst="rect">
              <a:avLst/>
            </a:prstGeom>
          </p:spPr>
        </p:pic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03392D1-15BE-4E62-8930-483C0E3A4B0C}"/>
                </a:ext>
              </a:extLst>
            </p:cNvPr>
            <p:cNvSpPr/>
            <p:nvPr/>
          </p:nvSpPr>
          <p:spPr>
            <a:xfrm>
              <a:off x="1828800" y="2201212"/>
              <a:ext cx="1243913" cy="1283393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E068BF5F-82BE-4190-82CB-FBDC924B5A7A}"/>
              </a:ext>
            </a:extLst>
          </p:cNvPr>
          <p:cNvGrpSpPr/>
          <p:nvPr/>
        </p:nvGrpSpPr>
        <p:grpSpPr>
          <a:xfrm>
            <a:off x="3587476" y="1705182"/>
            <a:ext cx="1243913" cy="1283393"/>
            <a:chOff x="3587477" y="1355471"/>
            <a:chExt cx="1243913" cy="1283393"/>
          </a:xfrm>
        </p:grpSpPr>
        <p:pic>
          <p:nvPicPr>
            <p:cNvPr id="16" name="Grafik 15" descr="Benutzer">
              <a:extLst>
                <a:ext uri="{FF2B5EF4-FFF2-40B4-BE49-F238E27FC236}">
                  <a16:creationId xmlns:a16="http://schemas.microsoft.com/office/drawing/2014/main" id="{C7E6C538-A233-4108-961D-894890452B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634163" y="1421897"/>
              <a:ext cx="1150541" cy="1150541"/>
            </a:xfrm>
            <a:prstGeom prst="rect">
              <a:avLst/>
            </a:prstGeom>
          </p:spPr>
        </p:pic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00352D31-5315-4352-8F34-14CF6B54C1A5}"/>
                </a:ext>
              </a:extLst>
            </p:cNvPr>
            <p:cNvSpPr/>
            <p:nvPr/>
          </p:nvSpPr>
          <p:spPr>
            <a:xfrm>
              <a:off x="3587477" y="1355471"/>
              <a:ext cx="1243913" cy="1283393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E98D80D2-0CC5-42CF-9C6A-FAB3A3150D15}"/>
              </a:ext>
            </a:extLst>
          </p:cNvPr>
          <p:cNvGrpSpPr/>
          <p:nvPr/>
        </p:nvGrpSpPr>
        <p:grpSpPr>
          <a:xfrm>
            <a:off x="7360612" y="1705183"/>
            <a:ext cx="1243913" cy="1283393"/>
            <a:chOff x="7277915" y="1618929"/>
            <a:chExt cx="1243913" cy="1283393"/>
          </a:xfrm>
        </p:grpSpPr>
        <p:pic>
          <p:nvPicPr>
            <p:cNvPr id="18" name="Grafik 17" descr="Wegweiser">
              <a:extLst>
                <a:ext uri="{FF2B5EF4-FFF2-40B4-BE49-F238E27FC236}">
                  <a16:creationId xmlns:a16="http://schemas.microsoft.com/office/drawing/2014/main" id="{729AA188-94C7-4343-9DA6-7C694AA997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324602" y="1685356"/>
              <a:ext cx="1150541" cy="1150541"/>
            </a:xfrm>
            <a:prstGeom prst="rect">
              <a:avLst/>
            </a:prstGeom>
          </p:spPr>
        </p:pic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19A9A8B3-DA9D-4B7D-AD0F-0E861C125577}"/>
                </a:ext>
              </a:extLst>
            </p:cNvPr>
            <p:cNvSpPr/>
            <p:nvPr/>
          </p:nvSpPr>
          <p:spPr>
            <a:xfrm>
              <a:off x="7277915" y="1618929"/>
              <a:ext cx="1243913" cy="1283393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DAEBF80F-F8DE-447E-9B4E-9ED74CA34B19}"/>
              </a:ext>
            </a:extLst>
          </p:cNvPr>
          <p:cNvGrpSpPr/>
          <p:nvPr/>
        </p:nvGrpSpPr>
        <p:grpSpPr>
          <a:xfrm>
            <a:off x="8941325" y="3532720"/>
            <a:ext cx="1243913" cy="1283393"/>
            <a:chOff x="9013572" y="3150999"/>
            <a:chExt cx="1243913" cy="1283393"/>
          </a:xfrm>
        </p:grpSpPr>
        <p:pic>
          <p:nvPicPr>
            <p:cNvPr id="14" name="Grafik 13" descr="Auge">
              <a:extLst>
                <a:ext uri="{FF2B5EF4-FFF2-40B4-BE49-F238E27FC236}">
                  <a16:creationId xmlns:a16="http://schemas.microsoft.com/office/drawing/2014/main" id="{B65666A6-3574-4351-A125-6B756E4AF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060259" y="3217426"/>
              <a:ext cx="1150541" cy="1150541"/>
            </a:xfrm>
            <a:prstGeom prst="rect">
              <a:avLst/>
            </a:prstGeom>
          </p:spPr>
        </p:pic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42712750-A2E9-48EE-A0E6-A96D01CA4F3B}"/>
                </a:ext>
              </a:extLst>
            </p:cNvPr>
            <p:cNvSpPr/>
            <p:nvPr/>
          </p:nvSpPr>
          <p:spPr>
            <a:xfrm>
              <a:off x="9013572" y="3150999"/>
              <a:ext cx="1243913" cy="1283393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</p:grpSp>
      <p:sp>
        <p:nvSpPr>
          <p:cNvPr id="25" name="Ellipse 24">
            <a:extLst>
              <a:ext uri="{FF2B5EF4-FFF2-40B4-BE49-F238E27FC236}">
                <a16:creationId xmlns:a16="http://schemas.microsoft.com/office/drawing/2014/main" id="{152AB0DD-0A6E-4E25-AAD3-D1917C937F0B}"/>
              </a:ext>
            </a:extLst>
          </p:cNvPr>
          <p:cNvSpPr/>
          <p:nvPr/>
        </p:nvSpPr>
        <p:spPr>
          <a:xfrm>
            <a:off x="5474042" y="3529429"/>
            <a:ext cx="1243913" cy="1283393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76E6617C-3784-41A4-99B0-5B80AB3B90A1}"/>
              </a:ext>
            </a:extLst>
          </p:cNvPr>
          <p:cNvSpPr txBox="1"/>
          <p:nvPr/>
        </p:nvSpPr>
        <p:spPr>
          <a:xfrm>
            <a:off x="1721708" y="4917581"/>
            <a:ext cx="1532238" cy="535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Wertschätzende Haltung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964AECB-0F4F-4926-8D9F-85FAF3FE971B}"/>
              </a:ext>
            </a:extLst>
          </p:cNvPr>
          <p:cNvSpPr txBox="1"/>
          <p:nvPr/>
        </p:nvSpPr>
        <p:spPr>
          <a:xfrm>
            <a:off x="3443313" y="3092467"/>
            <a:ext cx="1532238" cy="535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Kommunikation in Ich-Form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0097933-892C-458F-91C9-541151B4576B}"/>
              </a:ext>
            </a:extLst>
          </p:cNvPr>
          <p:cNvSpPr txBox="1"/>
          <p:nvPr/>
        </p:nvSpPr>
        <p:spPr>
          <a:xfrm>
            <a:off x="5329879" y="4879248"/>
            <a:ext cx="1532238" cy="535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Konkrete Formulierungen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46552656-6924-459A-A180-DD063594735F}"/>
              </a:ext>
            </a:extLst>
          </p:cNvPr>
          <p:cNvSpPr txBox="1"/>
          <p:nvPr/>
        </p:nvSpPr>
        <p:spPr>
          <a:xfrm>
            <a:off x="7216448" y="3092467"/>
            <a:ext cx="1606275" cy="535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Wahrnehmung und Wirkung trennen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288AA82F-F8BE-4EE2-B528-10078620376B}"/>
              </a:ext>
            </a:extLst>
          </p:cNvPr>
          <p:cNvSpPr txBox="1"/>
          <p:nvPr/>
        </p:nvSpPr>
        <p:spPr>
          <a:xfrm>
            <a:off x="8797162" y="4917581"/>
            <a:ext cx="1532238" cy="535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Kommunikation auf Augenhöhe</a:t>
            </a:r>
          </a:p>
        </p:txBody>
      </p:sp>
    </p:spTree>
    <p:extLst>
      <p:ext uri="{BB962C8B-B14F-4D97-AF65-F5344CB8AC3E}">
        <p14:creationId xmlns:p14="http://schemas.microsoft.com/office/powerpoint/2010/main" val="3318777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1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8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500"/>
                            </p:stCondLst>
                            <p:childTnLst>
                              <p:par>
                                <p:cTn id="23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5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6500"/>
                            </p:stCondLst>
                            <p:childTnLst>
                              <p:par>
                                <p:cTn id="30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2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8500"/>
                            </p:stCondLst>
                            <p:childTnLst>
                              <p:par>
                                <p:cTn id="40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2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25" grpId="0" animBg="1"/>
      <p:bldP spid="31" grpId="0"/>
      <p:bldP spid="33" grpId="0"/>
    </p:bld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9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305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A09141A-23E8-4CD3-AC03-F93A4FF59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2136530"/>
            <a:ext cx="9267458" cy="1556238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txBody>
          <a:bodyPr anchor="ctr"/>
          <a:lstStyle/>
          <a:p>
            <a:pPr marL="180000" lvl="1" indent="0">
              <a:buNone/>
            </a:pPr>
            <a:r>
              <a:rPr lang="de-DE" sz="1600" dirty="0"/>
              <a:t>Ein Feedback ist eine Rückmeldung und soll das Verhalten einer Person aktuell spiegeln und kritisch bewerten.</a:t>
            </a:r>
          </a:p>
          <a:p>
            <a:pPr marL="180000" lvl="1" indent="0">
              <a:buNone/>
            </a:pPr>
            <a:r>
              <a:rPr lang="de-DE" sz="1600" dirty="0"/>
              <a:t>Feedback bewertet nicht die Persönlichkeit, deren Charakter oder Eigenschaften, sondern beschreibt das wahrgenommene Verhalten einer Person in einer ausgewählten Situation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009D3A6-9F2E-4412-8CE6-1AE4B9905812}"/>
              </a:ext>
            </a:extLst>
          </p:cNvPr>
          <p:cNvSpPr/>
          <p:nvPr/>
        </p:nvSpPr>
        <p:spPr>
          <a:xfrm>
            <a:off x="623888" y="3930162"/>
            <a:ext cx="8528904" cy="22156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e-DE" sz="1600" b="1" dirty="0">
                <a:solidFill>
                  <a:schemeClr val="tx1"/>
                </a:solidFill>
              </a:rPr>
              <a:t>Regeln für </a:t>
            </a:r>
            <a:r>
              <a:rPr lang="de-DE" sz="1600" b="1" dirty="0" err="1">
                <a:solidFill>
                  <a:schemeClr val="tx1"/>
                </a:solidFill>
              </a:rPr>
              <a:t>Feedbacknehmer:innen</a:t>
            </a:r>
            <a:endParaRPr lang="de-DE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Zuhören, ohne Rechtfertigung oder Verteidig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tx1"/>
                </a:solidFill>
              </a:rPr>
              <a:t>Feedbackgeber:in</a:t>
            </a:r>
            <a:r>
              <a:rPr lang="de-DE" sz="1600" dirty="0">
                <a:solidFill>
                  <a:schemeClr val="tx1"/>
                </a:solidFill>
              </a:rPr>
              <a:t> ausreden las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Nachfragen und Nachdenken erlaubt, Verständnisfragen sind jederzeit willkom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enzen aufzeigen, wenn es zu viel wi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Bedanken für das Feedback</a:t>
            </a:r>
          </a:p>
        </p:txBody>
      </p:sp>
    </p:spTree>
    <p:extLst>
      <p:ext uri="{BB962C8B-B14F-4D97-AF65-F5344CB8AC3E}">
        <p14:creationId xmlns:p14="http://schemas.microsoft.com/office/powerpoint/2010/main" val="3465125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09435F-8F95-4827-8237-BCA19CEE0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 anneh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7860DE-68D8-4F73-85ED-5E6FF02F7D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6478" y="6258639"/>
            <a:ext cx="884505" cy="123111"/>
          </a:xfrm>
        </p:spPr>
        <p:txBody>
          <a:bodyPr/>
          <a:lstStyle/>
          <a:p>
            <a:r>
              <a:rPr lang="de-DE"/>
              <a:t>04/2026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C1466-E50D-44CD-BBE1-1A15A55E6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3888" y="623094"/>
            <a:ext cx="10944224" cy="136323"/>
          </a:xfrm>
        </p:spPr>
        <p:txBody>
          <a:bodyPr/>
          <a:lstStyle/>
          <a:p>
            <a:r>
              <a:rPr lang="de-DE"/>
              <a:t>Praxisanleitung Grundlagen I Nora Wehrstedt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6E8DC-E7C3-4272-9EB9-3F3E6836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60A30-CF8F-4947-992A-6F0F434EB4FF}" type="slidenum">
              <a:rPr lang="de-DE" smtClean="0"/>
              <a:pPr/>
              <a:t>9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CCA0D3B-BAB1-49A4-A8BB-1ABDBB8FA99B}"/>
              </a:ext>
            </a:extLst>
          </p:cNvPr>
          <p:cNvSpPr txBox="1">
            <a:spLocks/>
          </p:cNvSpPr>
          <p:nvPr/>
        </p:nvSpPr>
        <p:spPr>
          <a:xfrm>
            <a:off x="2502466" y="6258639"/>
            <a:ext cx="7187067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800" spc="-20" dirty="0" err="1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Mamerow</a:t>
            </a:r>
            <a:r>
              <a:rPr lang="de-DE" sz="800" spc="-20" dirty="0">
                <a:solidFill>
                  <a:srgbClr val="2D2846"/>
                </a:solidFill>
                <a:latin typeface="Hellix" pitchFamily="50" charset="0"/>
                <a:cs typeface="Hellix" pitchFamily="50" charset="0"/>
                <a:sym typeface="+mn-lt"/>
              </a:rPr>
              <a:t>, R.  (2021), S. 305</a:t>
            </a:r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99927222-ACFA-48A5-A0F5-887CEB1E4CBC}"/>
              </a:ext>
            </a:extLst>
          </p:cNvPr>
          <p:cNvSpPr/>
          <p:nvPr/>
        </p:nvSpPr>
        <p:spPr>
          <a:xfrm>
            <a:off x="1425146" y="1404551"/>
            <a:ext cx="9341708" cy="44360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dirty="0" err="1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76E6617C-3784-41A4-99B0-5B80AB3B90A1}"/>
              </a:ext>
            </a:extLst>
          </p:cNvPr>
          <p:cNvSpPr txBox="1"/>
          <p:nvPr/>
        </p:nvSpPr>
        <p:spPr>
          <a:xfrm>
            <a:off x="1721708" y="4917581"/>
            <a:ext cx="1532238" cy="535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Zuhören, ohne Rechtfertigung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964AECB-0F4F-4926-8D9F-85FAF3FE971B}"/>
              </a:ext>
            </a:extLst>
          </p:cNvPr>
          <p:cNvSpPr txBox="1"/>
          <p:nvPr/>
        </p:nvSpPr>
        <p:spPr>
          <a:xfrm>
            <a:off x="3443313" y="3092467"/>
            <a:ext cx="1532238" cy="535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Verständnisfragen klären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0097933-892C-458F-91C9-541151B4576B}"/>
              </a:ext>
            </a:extLst>
          </p:cNvPr>
          <p:cNvSpPr txBox="1"/>
          <p:nvPr/>
        </p:nvSpPr>
        <p:spPr>
          <a:xfrm>
            <a:off x="5329879" y="4879248"/>
            <a:ext cx="1622856" cy="535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Notwendige Grenzen aufzeigen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46552656-6924-459A-A180-DD063594735F}"/>
              </a:ext>
            </a:extLst>
          </p:cNvPr>
          <p:cNvSpPr txBox="1"/>
          <p:nvPr/>
        </p:nvSpPr>
        <p:spPr>
          <a:xfrm>
            <a:off x="7216448" y="3092467"/>
            <a:ext cx="1606275" cy="535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Ausreden lassen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288AA82F-F8BE-4EE2-B528-10078620376B}"/>
              </a:ext>
            </a:extLst>
          </p:cNvPr>
          <p:cNvSpPr txBox="1"/>
          <p:nvPr/>
        </p:nvSpPr>
        <p:spPr>
          <a:xfrm>
            <a:off x="8797162" y="4917581"/>
            <a:ext cx="1532238" cy="535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Bedanken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A8C6AD1-D711-4FC2-B080-C9ADD4CEBA0D}"/>
              </a:ext>
            </a:extLst>
          </p:cNvPr>
          <p:cNvGrpSpPr/>
          <p:nvPr/>
        </p:nvGrpSpPr>
        <p:grpSpPr>
          <a:xfrm>
            <a:off x="1865871" y="3529430"/>
            <a:ext cx="1243913" cy="1283393"/>
            <a:chOff x="1865871" y="3529430"/>
            <a:chExt cx="1243913" cy="1283393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03392D1-15BE-4E62-8930-483C0E3A4B0C}"/>
                </a:ext>
              </a:extLst>
            </p:cNvPr>
            <p:cNvSpPr/>
            <p:nvPr/>
          </p:nvSpPr>
          <p:spPr>
            <a:xfrm>
              <a:off x="1865871" y="3529430"/>
              <a:ext cx="1243913" cy="1283393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  <p:pic>
          <p:nvPicPr>
            <p:cNvPr id="8" name="Grafik 7" descr="Ohr">
              <a:extLst>
                <a:ext uri="{FF2B5EF4-FFF2-40B4-BE49-F238E27FC236}">
                  <a16:creationId xmlns:a16="http://schemas.microsoft.com/office/drawing/2014/main" id="{63C74D2D-55BA-45DA-B7D3-CD8C582E8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878205" y="3557253"/>
              <a:ext cx="1219243" cy="1219243"/>
            </a:xfrm>
            <a:prstGeom prst="rect">
              <a:avLst/>
            </a:prstGeom>
          </p:spPr>
        </p:pic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1479EA79-D862-431C-B2F9-6E52BEB885B9}"/>
              </a:ext>
            </a:extLst>
          </p:cNvPr>
          <p:cNvGrpSpPr/>
          <p:nvPr/>
        </p:nvGrpSpPr>
        <p:grpSpPr>
          <a:xfrm>
            <a:off x="8941325" y="3532720"/>
            <a:ext cx="1243913" cy="1283393"/>
            <a:chOff x="8941325" y="3532720"/>
            <a:chExt cx="1243913" cy="1283393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42712750-A2E9-48EE-A0E6-A96D01CA4F3B}"/>
                </a:ext>
              </a:extLst>
            </p:cNvPr>
            <p:cNvSpPr/>
            <p:nvPr/>
          </p:nvSpPr>
          <p:spPr>
            <a:xfrm>
              <a:off x="8941325" y="3532720"/>
              <a:ext cx="1243913" cy="1283393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  <p:pic>
          <p:nvPicPr>
            <p:cNvPr id="15" name="Grafik 14" descr="Händedruck">
              <a:extLst>
                <a:ext uri="{FF2B5EF4-FFF2-40B4-BE49-F238E27FC236}">
                  <a16:creationId xmlns:a16="http://schemas.microsoft.com/office/drawing/2014/main" id="{62F8458E-9F0A-489E-B4F2-4C1AD42308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983758" y="3598063"/>
              <a:ext cx="1159046" cy="1159046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940B06C8-2387-4C7F-8D1F-B0EE7516C7D9}"/>
              </a:ext>
            </a:extLst>
          </p:cNvPr>
          <p:cNvGrpSpPr/>
          <p:nvPr/>
        </p:nvGrpSpPr>
        <p:grpSpPr>
          <a:xfrm>
            <a:off x="5474042" y="3529429"/>
            <a:ext cx="1243913" cy="1283393"/>
            <a:chOff x="5474042" y="3529429"/>
            <a:chExt cx="1243913" cy="1283393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152AB0DD-0A6E-4E25-AAD3-D1917C937F0B}"/>
                </a:ext>
              </a:extLst>
            </p:cNvPr>
            <p:cNvSpPr/>
            <p:nvPr/>
          </p:nvSpPr>
          <p:spPr>
            <a:xfrm>
              <a:off x="5474042" y="3529429"/>
              <a:ext cx="1243913" cy="1283393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  <p:pic>
          <p:nvPicPr>
            <p:cNvPr id="19" name="Grafik 18" descr="Zaun">
              <a:extLst>
                <a:ext uri="{FF2B5EF4-FFF2-40B4-BE49-F238E27FC236}">
                  <a16:creationId xmlns:a16="http://schemas.microsoft.com/office/drawing/2014/main" id="{29416B91-6AD3-4060-9580-FE9796FE638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520198" y="3598063"/>
              <a:ext cx="1159046" cy="1159046"/>
            </a:xfrm>
            <a:prstGeom prst="rect">
              <a:avLst/>
            </a:prstGeom>
          </p:spPr>
        </p:pic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0BF8B824-9822-42BA-BD2D-91FCBEDE18BD}"/>
              </a:ext>
            </a:extLst>
          </p:cNvPr>
          <p:cNvGrpSpPr/>
          <p:nvPr/>
        </p:nvGrpSpPr>
        <p:grpSpPr>
          <a:xfrm>
            <a:off x="3587476" y="1705182"/>
            <a:ext cx="1243913" cy="1283393"/>
            <a:chOff x="3587476" y="1705182"/>
            <a:chExt cx="1243913" cy="1283393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00352D31-5315-4352-8F34-14CF6B54C1A5}"/>
                </a:ext>
              </a:extLst>
            </p:cNvPr>
            <p:cNvSpPr/>
            <p:nvPr/>
          </p:nvSpPr>
          <p:spPr>
            <a:xfrm>
              <a:off x="3587476" y="1705182"/>
              <a:ext cx="1243913" cy="1283393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  <p:pic>
          <p:nvPicPr>
            <p:cNvPr id="37" name="Grafik 36" descr="Verwirrte Person">
              <a:extLst>
                <a:ext uri="{FF2B5EF4-FFF2-40B4-BE49-F238E27FC236}">
                  <a16:creationId xmlns:a16="http://schemas.microsoft.com/office/drawing/2014/main" id="{F6413125-E92E-45B6-BB26-E13D403574D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17066" y="1759784"/>
              <a:ext cx="1159046" cy="1159046"/>
            </a:xfrm>
            <a:prstGeom prst="rect">
              <a:avLst/>
            </a:prstGeom>
          </p:spPr>
        </p:pic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FDB5F0E2-3F1F-41BA-B253-08B1485812F8}"/>
              </a:ext>
            </a:extLst>
          </p:cNvPr>
          <p:cNvGrpSpPr/>
          <p:nvPr/>
        </p:nvGrpSpPr>
        <p:grpSpPr>
          <a:xfrm>
            <a:off x="7360612" y="1705183"/>
            <a:ext cx="1243913" cy="1283393"/>
            <a:chOff x="7360612" y="1705183"/>
            <a:chExt cx="1243913" cy="1283393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19A9A8B3-DA9D-4B7D-AD0F-0E861C125577}"/>
                </a:ext>
              </a:extLst>
            </p:cNvPr>
            <p:cNvSpPr/>
            <p:nvPr/>
          </p:nvSpPr>
          <p:spPr>
            <a:xfrm>
              <a:off x="7360612" y="1705183"/>
              <a:ext cx="1243913" cy="1283393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dirty="0" err="1"/>
            </a:p>
          </p:txBody>
        </p:sp>
        <p:pic>
          <p:nvPicPr>
            <p:cNvPr id="39" name="Grafik 38" descr="Megafon">
              <a:extLst>
                <a:ext uri="{FF2B5EF4-FFF2-40B4-BE49-F238E27FC236}">
                  <a16:creationId xmlns:a16="http://schemas.microsoft.com/office/drawing/2014/main" id="{58680309-4D80-4EDF-ABD2-E7EE7E14BA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403045" y="1759784"/>
              <a:ext cx="1159046" cy="11590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35950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1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8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500"/>
                            </p:stCondLst>
                            <p:childTnLst>
                              <p:par>
                                <p:cTn id="23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6500"/>
                            </p:stCondLst>
                            <p:childTnLst>
                              <p:par>
                                <p:cTn id="30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2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500"/>
                            </p:stCondLst>
                            <p:childTnLst>
                              <p:par>
                                <p:cTn id="37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9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1" grpId="0"/>
      <p:bldP spid="33" grpId="0"/>
      <p:bldP spid="34" grpId="0"/>
    </p:bld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3751C94-9D5E-4AC9-BD63-E44CFDD2B2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9" y="836614"/>
            <a:ext cx="5297517" cy="1354217"/>
          </a:xfrm>
        </p:spPr>
        <p:txBody>
          <a:bodyPr/>
          <a:lstStyle/>
          <a:p>
            <a:r>
              <a:rPr lang="de-DE" dirty="0"/>
              <a:t>Feedbackmethoden</a:t>
            </a:r>
          </a:p>
        </p:txBody>
      </p:sp>
      <p:pic>
        <p:nvPicPr>
          <p:cNvPr id="15" name="Bildplatzhalter 14">
            <a:extLst>
              <a:ext uri="{FF2B5EF4-FFF2-40B4-BE49-F238E27FC236}">
                <a16:creationId xmlns:a16="http://schemas.microsoft.com/office/drawing/2014/main" id="{4538012A-3DAB-4826-B1A3-460062AD7B0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54" b="54"/>
          <a:stretch>
            <a:fillRect/>
          </a:stretch>
        </p:blipFill>
        <p:spPr/>
      </p:pic>
      <p:sp>
        <p:nvSpPr>
          <p:cNvPr id="5" name="Untertitel 4">
            <a:extLst>
              <a:ext uri="{FF2B5EF4-FFF2-40B4-BE49-F238E27FC236}">
                <a16:creationId xmlns:a16="http://schemas.microsoft.com/office/drawing/2014/main" id="{F8C7C49E-9ACD-4E58-8F01-ECDD42FF8C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0998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bs_Master_16:9">
  <a:themeElements>
    <a:clrScheme name="skbs_Farben">
      <a:dk1>
        <a:srgbClr val="000000"/>
      </a:dk1>
      <a:lt1>
        <a:srgbClr val="FFFFFF"/>
      </a:lt1>
      <a:dk2>
        <a:srgbClr val="2D2846"/>
      </a:dk2>
      <a:lt2>
        <a:srgbClr val="ABA9B5"/>
      </a:lt2>
      <a:accent1>
        <a:srgbClr val="463787"/>
      </a:accent1>
      <a:accent2>
        <a:srgbClr val="9087B7"/>
      </a:accent2>
      <a:accent3>
        <a:srgbClr val="B5AFCF"/>
      </a:accent3>
      <a:accent4>
        <a:srgbClr val="DAD7E7"/>
      </a:accent4>
      <a:accent5>
        <a:srgbClr val="ECEBF3"/>
      </a:accent5>
      <a:accent6>
        <a:srgbClr val="E1D5D1"/>
      </a:accent6>
      <a:hlink>
        <a:srgbClr val="78C8BE"/>
      </a:hlink>
      <a:folHlink>
        <a:srgbClr val="9087B7"/>
      </a:folHlink>
    </a:clrScheme>
    <a:fontScheme name="skbs_Schriften">
      <a:majorFont>
        <a:latin typeface="Hellix SemiBold"/>
        <a:ea typeface=""/>
        <a:cs typeface=""/>
      </a:majorFont>
      <a:minorFont>
        <a:latin typeface="Helli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skbs Taupe_dunkel">
      <a:srgbClr val="C8B0A7"/>
    </a:custClr>
    <a:custClr name="skbs Lime_dunkel">
      <a:srgbClr val="009B8F"/>
    </a:custClr>
    <a:custClr name="skbs Gelb">
      <a:srgbClr val="FADC7D"/>
    </a:custClr>
    <a:custClr name="skbs Peach">
      <a:srgbClr val="F7B39A"/>
    </a:custClr>
    <a:custClr name="skbs Rot_dunkel">
      <a:srgbClr val="FF5454"/>
    </a:custClr>
    <a:custClr name="skbs Ozean_dunkel">
      <a:srgbClr val="6887D8"/>
    </a:custClr>
    <a:custClr name="skbs Violett_dunkel">
      <a:srgbClr val="463787"/>
    </a:custClr>
    <a:custClr name="Aktivblau 100%">
      <a:srgbClr val="4A37F0"/>
    </a:custClr>
    <a:custClr name="skbs Dunkelblau">
      <a:srgbClr val="2B2649"/>
    </a:custClr>
    <a:custClr name="skbs Grau">
      <a:srgbClr val="E1E1EB"/>
    </a:custClr>
    <a:custClr name="skbs Taupe">
      <a:srgbClr val="EFE5E1"/>
    </a:custClr>
    <a:custClr name="skbs Limel">
      <a:srgbClr val="8CCDB4"/>
    </a:custClr>
    <a:custClr name="skbs Gelb_mitte">
      <a:srgbClr val="FCEDBD"/>
    </a:custClr>
    <a:custClr name="skbs Peach_hell">
      <a:srgbClr val="FCE6E1"/>
    </a:custClr>
    <a:custClr name="skbs Rot">
      <a:srgbClr val="FF786E"/>
    </a:custClr>
    <a:custClr name="skbs Ozean">
      <a:srgbClr val="8DA4E1"/>
    </a:custClr>
    <a:custClr name="skbs Violett">
      <a:srgbClr val="695AA0"/>
    </a:custClr>
    <a:custClr name=" ">
      <a:srgbClr val="FFFFFF"/>
    </a:custClr>
    <a:custClr name=" ">
      <a:srgbClr val="FFFFFF"/>
    </a:custClr>
    <a:custClr name=" ">
      <a:srgbClr val="FFFFFF"/>
    </a:custClr>
    <a:custClr name="skbs Taupe_hell">
      <a:srgbClr val="F6F2EF"/>
    </a:custClr>
    <a:custClr name="skbs Lime_mitte">
      <a:srgbClr val="B4DCB9"/>
    </a:custClr>
    <a:custClr name="skbs Gelb_hell">
      <a:srgbClr val="FFF8E6"/>
    </a:custClr>
    <a:custClr name=" ">
      <a:srgbClr val="FFFFFF"/>
    </a:custClr>
    <a:custClr name="skbs Rot_hell">
      <a:srgbClr val="F9CAC0"/>
    </a:custClr>
    <a:custClr name="skbs Ozean_hell">
      <a:srgbClr val="C7D1EB"/>
    </a:custClr>
    <a:custClr name="skbs Violett_mittel">
      <a:srgbClr val="9B90C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kbs Lime_hell">
      <a:srgbClr val="C8E4D2"/>
    </a:custClr>
    <a:custClr name=" ">
      <a:srgbClr val="FFFFFF"/>
    </a:custClr>
    <a:custClr name=" ">
      <a:srgbClr val="FFFFFF"/>
    </a:custClr>
    <a:custClr name=" ">
      <a:srgbClr val="FFFFFF"/>
    </a:custClr>
    <a:custClr>
      <a:srgbClr val="FFFFFF"/>
    </a:custClr>
    <a:custClr name="skbs Violett_hell">
      <a:srgbClr val="DDD9EE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skbs_Farben">
      <a:dk1>
        <a:srgbClr val="000000"/>
      </a:dk1>
      <a:lt1>
        <a:srgbClr val="FFFFFF"/>
      </a:lt1>
      <a:dk2>
        <a:srgbClr val="2D2846"/>
      </a:dk2>
      <a:lt2>
        <a:srgbClr val="ABA9B5"/>
      </a:lt2>
      <a:accent1>
        <a:srgbClr val="463787"/>
      </a:accent1>
      <a:accent2>
        <a:srgbClr val="9087B7"/>
      </a:accent2>
      <a:accent3>
        <a:srgbClr val="B5AFCF"/>
      </a:accent3>
      <a:accent4>
        <a:srgbClr val="DAD7E7"/>
      </a:accent4>
      <a:accent5>
        <a:srgbClr val="ECEBF3"/>
      </a:accent5>
      <a:accent6>
        <a:srgbClr val="E1D5D1"/>
      </a:accent6>
      <a:hlink>
        <a:srgbClr val="78C8BE"/>
      </a:hlink>
      <a:folHlink>
        <a:srgbClr val="9087B7"/>
      </a:folHlink>
    </a:clrScheme>
    <a:fontScheme name="skbs_Schriften">
      <a:majorFont>
        <a:latin typeface="Hellix SemiBold"/>
        <a:ea typeface=""/>
        <a:cs typeface=""/>
      </a:majorFont>
      <a:minorFont>
        <a:latin typeface="Helli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kbs_Farben">
      <a:dk1>
        <a:srgbClr val="000000"/>
      </a:dk1>
      <a:lt1>
        <a:srgbClr val="FFFFFF"/>
      </a:lt1>
      <a:dk2>
        <a:srgbClr val="2D2846"/>
      </a:dk2>
      <a:lt2>
        <a:srgbClr val="ABA9B5"/>
      </a:lt2>
      <a:accent1>
        <a:srgbClr val="463787"/>
      </a:accent1>
      <a:accent2>
        <a:srgbClr val="9087B7"/>
      </a:accent2>
      <a:accent3>
        <a:srgbClr val="B5AFCF"/>
      </a:accent3>
      <a:accent4>
        <a:srgbClr val="DAD7E7"/>
      </a:accent4>
      <a:accent5>
        <a:srgbClr val="ECEBF3"/>
      </a:accent5>
      <a:accent6>
        <a:srgbClr val="E1D5D1"/>
      </a:accent6>
      <a:hlink>
        <a:srgbClr val="78C8BE"/>
      </a:hlink>
      <a:folHlink>
        <a:srgbClr val="9087B7"/>
      </a:folHlink>
    </a:clrScheme>
    <a:fontScheme name="skbs_Schriften">
      <a:majorFont>
        <a:latin typeface="Hellix SemiBold"/>
        <a:ea typeface=""/>
        <a:cs typeface=""/>
      </a:majorFont>
      <a:minorFont>
        <a:latin typeface="Helli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043</Words>
  <Application>Microsoft Office PowerPoint</Application>
  <PresentationFormat>Breitbild</PresentationFormat>
  <Paragraphs>1617</Paragraphs>
  <Slides>136</Slides>
  <Notes>9</Notes>
  <HiddenSlides>38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6</vt:i4>
      </vt:variant>
    </vt:vector>
  </HeadingPairs>
  <TitlesOfParts>
    <vt:vector size="142" baseType="lpstr">
      <vt:lpstr>Arial</vt:lpstr>
      <vt:lpstr>Hellix</vt:lpstr>
      <vt:lpstr>Hellix SemiBold</vt:lpstr>
      <vt:lpstr>Wingdings</vt:lpstr>
      <vt:lpstr>skbs_Master_16:9</vt:lpstr>
      <vt:lpstr>think-cell Folie</vt:lpstr>
      <vt:lpstr>Praxisanleitung Grundlagen</vt:lpstr>
      <vt:lpstr>Agenda</vt:lpstr>
      <vt:lpstr>Begriffsbestimmung</vt:lpstr>
      <vt:lpstr>ABC-Quiz – Begriffsbestimmungen</vt:lpstr>
      <vt:lpstr>Begriffsbestimmung</vt:lpstr>
      <vt:lpstr>Begriffsbestimmung - Praxisanleiter:in</vt:lpstr>
      <vt:lpstr>Begriffsbestimmung – Praxisanleitung</vt:lpstr>
      <vt:lpstr>Geplante vs. situative Anleitung</vt:lpstr>
      <vt:lpstr>Begriffsbestimmung – Praxisanleitung vs. Praxisbegleitung</vt:lpstr>
      <vt:lpstr>Anleitung vs. Begleitung</vt:lpstr>
      <vt:lpstr>Anleitung vs. Begleitung</vt:lpstr>
      <vt:lpstr>Begriffsbestimmung – Methodik vs. Didaktik</vt:lpstr>
      <vt:lpstr>Begriffsbestimmung – Methodik vs. Didaktik</vt:lpstr>
      <vt:lpstr>Lernorte</vt:lpstr>
      <vt:lpstr>Lernorte der Ausbildung</vt:lpstr>
      <vt:lpstr>Lernort Schule</vt:lpstr>
      <vt:lpstr>Lernort Praxis</vt:lpstr>
      <vt:lpstr>Dritter Lernort – Skill Lab</vt:lpstr>
      <vt:lpstr>Dritter Lernort – Skill Lab</vt:lpstr>
      <vt:lpstr>Lernorte der Ausbildung</vt:lpstr>
      <vt:lpstr>Unterschiedliche Berufe in Skill Labs</vt:lpstr>
      <vt:lpstr>Rahmenbedingungen</vt:lpstr>
      <vt:lpstr>Arbeitsauftrag – Rahmenbedingungen</vt:lpstr>
      <vt:lpstr>Rahmenbedingungen</vt:lpstr>
      <vt:lpstr>Rahmenbedingungen – Organisation</vt:lpstr>
      <vt:lpstr>Rahmenbedingungen – Organisation</vt:lpstr>
      <vt:lpstr>Rahmenbedingungen – Aufgaben / Zuständigkeiten</vt:lpstr>
      <vt:lpstr>Rahmenbedingungen – Aufgaben / Zuständigkeiten</vt:lpstr>
      <vt:lpstr>Rahmenbedingungen – Ausbildung</vt:lpstr>
      <vt:lpstr>Rahmenbedingungen – Ausbildung</vt:lpstr>
      <vt:lpstr>Rahmenbedingungen – Gesetzliche Vorgaben</vt:lpstr>
      <vt:lpstr>Rahmenbedingungen – Gesetzliche Vorgaben</vt:lpstr>
      <vt:lpstr>Rahmenbedingungen – Kommunikation</vt:lpstr>
      <vt:lpstr>Rahmenbedingungen – Kommunikation</vt:lpstr>
      <vt:lpstr>Rahmenbedingungen mitgestalten</vt:lpstr>
      <vt:lpstr>Kommunikation</vt:lpstr>
      <vt:lpstr>Kommunikation als Praxisanleitende:r</vt:lpstr>
      <vt:lpstr>Gespräche als Praxisanleitende:r – Ergebnissicherung</vt:lpstr>
      <vt:lpstr>Gespräche als Praxisanleitende:r – Ergebnissicherung</vt:lpstr>
      <vt:lpstr>Gespräche als Praxisan- leitende:r – Ergebnissicherung</vt:lpstr>
      <vt:lpstr>Gespräche als Praxisan- leitende:r – Ergebnissicherung</vt:lpstr>
      <vt:lpstr>Kommunikation als Praxisanleitende:r</vt:lpstr>
      <vt:lpstr>Gespräche als Praxisanleitende:r</vt:lpstr>
      <vt:lpstr>Gespräche als Praxisanleitende:r</vt:lpstr>
      <vt:lpstr> Kommunikations- modelle</vt:lpstr>
      <vt:lpstr>Kommunikationsmodelle</vt:lpstr>
      <vt:lpstr>Kommunikationsmodelle</vt:lpstr>
      <vt:lpstr>Kommunikationsmodelle</vt:lpstr>
      <vt:lpstr>Gruppenzusammensetzung (4-5 Personen pro Gruppe)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Kommunikationsmodelle</vt:lpstr>
      <vt:lpstr> Praktischer Einsatz</vt:lpstr>
      <vt:lpstr>Erstgespräch</vt:lpstr>
      <vt:lpstr>Zwischengespräch</vt:lpstr>
      <vt:lpstr>Abschlussgespräch</vt:lpstr>
      <vt:lpstr>Praktischer Einsatz Vor- | Zwischen- | Nachgespräch</vt:lpstr>
      <vt:lpstr>Praktischer Einsatz Vor- | Zwischen- | Nachgespräch</vt:lpstr>
      <vt:lpstr> Praxisanleitung   Vorgespräch</vt:lpstr>
      <vt:lpstr>Kommunikation Vorgespräch der Anleitung</vt:lpstr>
      <vt:lpstr>Kommunikation</vt:lpstr>
      <vt:lpstr> Praxisanleitung   Nachgespräch</vt:lpstr>
      <vt:lpstr>Kommunikation Nachgespräch der Anleitung</vt:lpstr>
      <vt:lpstr>Gesprächsleitfäden</vt:lpstr>
      <vt:lpstr>Ergebnissicherung - Gesprächsleitfäden</vt:lpstr>
      <vt:lpstr>Ergebnissicherung - Gesprächsleitfäden</vt:lpstr>
      <vt:lpstr>Gesprächsstrukturen in den Einrichtungen</vt:lpstr>
      <vt:lpstr>Ergebnissicherung - Gesprächsstrukturen</vt:lpstr>
      <vt:lpstr>Ergebnissicherung - Gesprächsstrukturen</vt:lpstr>
      <vt:lpstr>Ergebnissicherung - Gesprächsstrukturen</vt:lpstr>
      <vt:lpstr> Feedback</vt:lpstr>
      <vt:lpstr>Feedback</vt:lpstr>
      <vt:lpstr>Feedback</vt:lpstr>
      <vt:lpstr>Feedback</vt:lpstr>
      <vt:lpstr>Feedback</vt:lpstr>
      <vt:lpstr>Feedback geben</vt:lpstr>
      <vt:lpstr>Feedback</vt:lpstr>
      <vt:lpstr>Feedback annehmen</vt:lpstr>
      <vt:lpstr>Feedbackmethoden</vt:lpstr>
      <vt:lpstr>Feedbackmethode W W W</vt:lpstr>
      <vt:lpstr>Feedbackmethode W W W</vt:lpstr>
      <vt:lpstr>Feedbackmethode W W W</vt:lpstr>
      <vt:lpstr>Feedbackmethode 5-Finger-Feedback</vt:lpstr>
      <vt:lpstr>Feedbackmethode Ampel Feedback</vt:lpstr>
      <vt:lpstr>Feedbackmethode 4-Felder-Tafel</vt:lpstr>
      <vt:lpstr>Arbeitsauftrag – Fallbeispiel</vt:lpstr>
      <vt:lpstr>Praktische Übung - Feedback</vt:lpstr>
      <vt:lpstr>Praktische Übung - Feedback</vt:lpstr>
      <vt:lpstr>Handlungs-kompetenz</vt:lpstr>
      <vt:lpstr>Handlungskompetenzen</vt:lpstr>
      <vt:lpstr>Handlungskompetenzen</vt:lpstr>
      <vt:lpstr>Handlungskompetenz</vt:lpstr>
      <vt:lpstr>Handlungskompetenz</vt:lpstr>
      <vt:lpstr>Handlungskompetenz</vt:lpstr>
      <vt:lpstr>Handlungskompetenz</vt:lpstr>
      <vt:lpstr>Handlungskompetenz</vt:lpstr>
      <vt:lpstr>Handlungskompetenz</vt:lpstr>
      <vt:lpstr>Arbeitsauftrag – Handlungskompetenz</vt:lpstr>
      <vt:lpstr>Kompetenznetz</vt:lpstr>
      <vt:lpstr>Erweiterung der eigenen Handlungskompetenz</vt:lpstr>
      <vt:lpstr>Kompetenzen &amp; Kompetenz-entwicklung</vt:lpstr>
      <vt:lpstr>Kompetenzstufen nach P. Benner</vt:lpstr>
      <vt:lpstr>Kompetenzstufen</vt:lpstr>
      <vt:lpstr>Kompetenzstufen</vt:lpstr>
      <vt:lpstr>Kompetenzstufen</vt:lpstr>
      <vt:lpstr>Kompetenzstufen</vt:lpstr>
      <vt:lpstr>Kompetenzentwicklung nach C. Olbrich</vt:lpstr>
      <vt:lpstr>Berufsspezifische Kompetenzen</vt:lpstr>
      <vt:lpstr>Indikatoren für die Kompetenzsteigerung</vt:lpstr>
      <vt:lpstr>Berufsspezifische Kompetenzen</vt:lpstr>
      <vt:lpstr>Berufsspezifische Kompetenzen</vt:lpstr>
      <vt:lpstr>Berufsspezifische Kompetenzen</vt:lpstr>
      <vt:lpstr>Berufsspezifische Kompetenzen</vt:lpstr>
      <vt:lpstr>Berufsspezifische Kompetenzen</vt:lpstr>
      <vt:lpstr>Literaturverzeichnis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rigitta Huber | i-pointing</dc:creator>
  <cp:lastModifiedBy>Wehrstedt von Nessen-Lapp, Nora</cp:lastModifiedBy>
  <cp:revision>317</cp:revision>
  <dcterms:created xsi:type="dcterms:W3CDTF">2022-01-17T06:51:51Z</dcterms:created>
  <dcterms:modified xsi:type="dcterms:W3CDTF">2026-04-17T18:11:31Z</dcterms:modified>
</cp:coreProperties>
</file>